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73" r:id="rId2"/>
  </p:sldIdLst>
  <p:sldSz cx="7556500" cy="10693400"/>
  <p:notesSz cx="6858000" cy="9144000"/>
  <p:embeddedFontLst>
    <p:embeddedFont>
      <p:font typeface="Calibri" panose="020F0502020204030204" pitchFamily="34" charset="0"/>
      <p:regular r:id="rId3"/>
      <p:bold r:id="rId4"/>
      <p:italic r:id="rId5"/>
      <p:boldItalic r:id="rId6"/>
    </p:embeddedFont>
    <p:embeddedFont>
      <p:font typeface="Lilita One" panose="02000000000000000000" pitchFamily="2" charset="0"/>
      <p:regular r:id="rId7"/>
    </p:embeddedFont>
    <p:embeddedFont>
      <p:font typeface="Quicksand" pitchFamily="2" charset="0"/>
      <p:regular r:id="rId8"/>
      <p:bold r:id="rId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0D4"/>
    <a:srgbClr val="E6E5E8"/>
    <a:srgbClr val="E5E6E8"/>
    <a:srgbClr val="EAE4E2"/>
    <a:srgbClr val="E6E6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>
        <p:scale>
          <a:sx n="100" d="100"/>
          <a:sy n="100" d="100"/>
        </p:scale>
        <p:origin x="2418" y="-192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tableStyles" Target="tableStyles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viewProps" Target="viewProps.xml"/><Relationship Id="rId5" Type="http://schemas.openxmlformats.org/officeDocument/2006/relationships/font" Target="fonts/font3.fntdata"/><Relationship Id="rId10" Type="http://schemas.openxmlformats.org/officeDocument/2006/relationships/presProps" Target="presProps.xml"/><Relationship Id="rId4" Type="http://schemas.openxmlformats.org/officeDocument/2006/relationships/font" Target="fonts/font2.fntdata"/><Relationship Id="rId9" Type="http://schemas.openxmlformats.org/officeDocument/2006/relationships/font" Target="fonts/font7.fntdata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3" Type="http://schemas.openxmlformats.org/officeDocument/2006/relationships/image" Target="../media/image1.png"/><Relationship Id="rId21" Type="http://schemas.openxmlformats.org/officeDocument/2006/relationships/image" Target="../media/image19.sv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4.svg"/><Relationship Id="rId20" Type="http://schemas.openxmlformats.org/officeDocument/2006/relationships/image" Target="../media/image18.png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10" Type="http://schemas.openxmlformats.org/officeDocument/2006/relationships/image" Target="../media/image8.svg"/><Relationship Id="rId19" Type="http://schemas.openxmlformats.org/officeDocument/2006/relationships/image" Target="../media/image17.jpe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0D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6">
            <a:extLst>
              <a:ext uri="{FF2B5EF4-FFF2-40B4-BE49-F238E27FC236}">
                <a16:creationId xmlns:a16="http://schemas.microsoft.com/office/drawing/2014/main" id="{616B877A-DCF2-2B46-8ADE-2CB455030C42}"/>
              </a:ext>
            </a:extLst>
          </p:cNvPr>
          <p:cNvGrpSpPr/>
          <p:nvPr/>
        </p:nvGrpSpPr>
        <p:grpSpPr>
          <a:xfrm>
            <a:off x="-349216" y="-1"/>
            <a:ext cx="8559569" cy="11102973"/>
            <a:chOff x="-349216" y="-1"/>
            <a:chExt cx="8559569" cy="11102973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F6342F4-F56F-8FAA-0F3D-0DAB2FDFD741}"/>
                </a:ext>
              </a:extLst>
            </p:cNvPr>
            <p:cNvGrpSpPr/>
            <p:nvPr/>
          </p:nvGrpSpPr>
          <p:grpSpPr>
            <a:xfrm>
              <a:off x="-349216" y="-1"/>
              <a:ext cx="8559569" cy="11102973"/>
              <a:chOff x="-349216" y="-1"/>
              <a:chExt cx="8559569" cy="11102973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3378738" y="10193176"/>
                <a:ext cx="3024000" cy="500224"/>
              </a:xfrm>
              <a:custGeom>
                <a:avLst/>
                <a:gdLst/>
                <a:ahLst/>
                <a:cxnLst/>
                <a:rect l="l" t="t" r="r" b="b"/>
                <a:pathLst>
                  <a:path w="4032000" h="3995345">
                    <a:moveTo>
                      <a:pt x="0" y="0"/>
                    </a:moveTo>
                    <a:lnTo>
                      <a:pt x="4032000" y="0"/>
                    </a:lnTo>
                    <a:lnTo>
                      <a:pt x="4032000" y="3995346"/>
                    </a:lnTo>
                    <a:lnTo>
                      <a:pt x="0" y="399534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 b="-499033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3F908B23-CE87-EFB1-919F-41A74AD33CA4}"/>
                  </a:ext>
                </a:extLst>
              </p:cNvPr>
              <p:cNvSpPr/>
              <p:nvPr/>
            </p:nvSpPr>
            <p:spPr>
              <a:xfrm rot="2172344">
                <a:off x="6282980" y="8652421"/>
                <a:ext cx="1927373" cy="1240747"/>
              </a:xfrm>
              <a:custGeom>
                <a:avLst/>
                <a:gdLst>
                  <a:gd name="connsiteX0" fmla="*/ 1685959 w 1927373"/>
                  <a:gd name="connsiteY0" fmla="*/ 0 h 1240747"/>
                  <a:gd name="connsiteX1" fmla="*/ 1927372 w 1927373"/>
                  <a:gd name="connsiteY1" fmla="*/ 0 h 1240747"/>
                  <a:gd name="connsiteX2" fmla="*/ 1927373 w 1927373"/>
                  <a:gd name="connsiteY2" fmla="*/ 329782 h 1240747"/>
                  <a:gd name="connsiteX3" fmla="*/ 0 w 1927373"/>
                  <a:gd name="connsiteY3" fmla="*/ 1 h 1240747"/>
                  <a:gd name="connsiteX4" fmla="*/ 893527 w 1927373"/>
                  <a:gd name="connsiteY4" fmla="*/ 1 h 1240747"/>
                  <a:gd name="connsiteX5" fmla="*/ 1801807 w 1927373"/>
                  <a:gd name="connsiteY5" fmla="*/ 1240747 h 1240747"/>
                  <a:gd name="connsiteX6" fmla="*/ 0 w 1927373"/>
                  <a:gd name="connsiteY6" fmla="*/ 1240747 h 1240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27373" h="1240747">
                    <a:moveTo>
                      <a:pt x="1685959" y="0"/>
                    </a:moveTo>
                    <a:lnTo>
                      <a:pt x="1927372" y="0"/>
                    </a:lnTo>
                    <a:lnTo>
                      <a:pt x="1927373" y="329782"/>
                    </a:lnTo>
                    <a:close/>
                    <a:moveTo>
                      <a:pt x="0" y="1"/>
                    </a:moveTo>
                    <a:lnTo>
                      <a:pt x="893527" y="1"/>
                    </a:lnTo>
                    <a:lnTo>
                      <a:pt x="1801807" y="1240747"/>
                    </a:lnTo>
                    <a:lnTo>
                      <a:pt x="0" y="1240747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1CA110E4-4223-5E04-3CBE-A2DF7EDE0D1F}"/>
                  </a:ext>
                </a:extLst>
              </p:cNvPr>
              <p:cNvSpPr/>
              <p:nvPr/>
            </p:nvSpPr>
            <p:spPr>
              <a:xfrm rot="20744059">
                <a:off x="-349216" y="9813987"/>
                <a:ext cx="2002306" cy="1288985"/>
              </a:xfrm>
              <a:custGeom>
                <a:avLst/>
                <a:gdLst>
                  <a:gd name="connsiteX0" fmla="*/ 0 w 2002306"/>
                  <a:gd name="connsiteY0" fmla="*/ 933729 h 1288985"/>
                  <a:gd name="connsiteX1" fmla="*/ 228486 w 2002306"/>
                  <a:gd name="connsiteY1" fmla="*/ 991824 h 1288985"/>
                  <a:gd name="connsiteX2" fmla="*/ 182812 w 2002306"/>
                  <a:gd name="connsiteY2" fmla="*/ 1171460 h 1288985"/>
                  <a:gd name="connsiteX3" fmla="*/ 645036 w 2002306"/>
                  <a:gd name="connsiteY3" fmla="*/ 1288985 h 1288985"/>
                  <a:gd name="connsiteX4" fmla="*/ 0 w 2002306"/>
                  <a:gd name="connsiteY4" fmla="*/ 1288985 h 1288985"/>
                  <a:gd name="connsiteX5" fmla="*/ 2002306 w 2002306"/>
                  <a:gd name="connsiteY5" fmla="*/ 0 h 1288985"/>
                  <a:gd name="connsiteX6" fmla="*/ 2002306 w 2002306"/>
                  <a:gd name="connsiteY6" fmla="*/ 1136362 h 1288985"/>
                  <a:gd name="connsiteX7" fmla="*/ 312642 w 2002306"/>
                  <a:gd name="connsiteY7" fmla="*/ 706750 h 1288985"/>
                  <a:gd name="connsiteX8" fmla="*/ 492340 w 2002306"/>
                  <a:gd name="connsiteY8" fmla="*/ 0 h 1288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02306" h="1288985">
                    <a:moveTo>
                      <a:pt x="0" y="933729"/>
                    </a:moveTo>
                    <a:lnTo>
                      <a:pt x="228486" y="991824"/>
                    </a:lnTo>
                    <a:lnTo>
                      <a:pt x="182812" y="1171460"/>
                    </a:lnTo>
                    <a:lnTo>
                      <a:pt x="645036" y="1288985"/>
                    </a:lnTo>
                    <a:lnTo>
                      <a:pt x="0" y="1288985"/>
                    </a:lnTo>
                    <a:close/>
                    <a:moveTo>
                      <a:pt x="2002306" y="0"/>
                    </a:moveTo>
                    <a:lnTo>
                      <a:pt x="2002306" y="1136362"/>
                    </a:lnTo>
                    <a:lnTo>
                      <a:pt x="312642" y="706750"/>
                    </a:lnTo>
                    <a:lnTo>
                      <a:pt x="49234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7" name="Freeform 7"/>
              <p:cNvSpPr/>
              <p:nvPr/>
            </p:nvSpPr>
            <p:spPr>
              <a:xfrm>
                <a:off x="6994172" y="4348425"/>
                <a:ext cx="562328" cy="2996509"/>
              </a:xfrm>
              <a:custGeom>
                <a:avLst/>
                <a:gdLst/>
                <a:ahLst/>
                <a:cxnLst/>
                <a:rect l="l" t="t" r="r" b="b"/>
                <a:pathLst>
                  <a:path w="4032000" h="3995345">
                    <a:moveTo>
                      <a:pt x="0" y="0"/>
                    </a:moveTo>
                    <a:lnTo>
                      <a:pt x="4032000" y="0"/>
                    </a:lnTo>
                    <a:lnTo>
                      <a:pt x="4032000" y="3995345"/>
                    </a:lnTo>
                    <a:lnTo>
                      <a:pt x="0" y="399534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 r="-437764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Freeform 8"/>
              <p:cNvSpPr/>
              <p:nvPr/>
            </p:nvSpPr>
            <p:spPr>
              <a:xfrm>
                <a:off x="-1" y="5932695"/>
                <a:ext cx="651937" cy="2996509"/>
              </a:xfrm>
              <a:custGeom>
                <a:avLst/>
                <a:gdLst/>
                <a:ahLst/>
                <a:cxnLst/>
                <a:rect l="l" t="t" r="r" b="b"/>
                <a:pathLst>
                  <a:path w="4032000" h="3995345">
                    <a:moveTo>
                      <a:pt x="0" y="0"/>
                    </a:moveTo>
                    <a:lnTo>
                      <a:pt x="4032000" y="0"/>
                    </a:lnTo>
                    <a:lnTo>
                      <a:pt x="4032000" y="3995345"/>
                    </a:lnTo>
                    <a:lnTo>
                      <a:pt x="0" y="399534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 l="-363849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FD14DC15-F1EB-AE20-CF10-5E73FBEAAA4A}"/>
                  </a:ext>
                </a:extLst>
              </p:cNvPr>
              <p:cNvSpPr/>
              <p:nvPr/>
            </p:nvSpPr>
            <p:spPr>
              <a:xfrm rot="20744059">
                <a:off x="6910783" y="2064516"/>
                <a:ext cx="817130" cy="1288985"/>
              </a:xfrm>
              <a:custGeom>
                <a:avLst/>
                <a:gdLst>
                  <a:gd name="connsiteX0" fmla="*/ 817130 w 817130"/>
                  <a:gd name="connsiteY0" fmla="*/ 0 h 1288985"/>
                  <a:gd name="connsiteX1" fmla="*/ 489394 w 817130"/>
                  <a:gd name="connsiteY1" fmla="*/ 1288985 h 1288985"/>
                  <a:gd name="connsiteX2" fmla="*/ 0 w 817130"/>
                  <a:gd name="connsiteY2" fmla="*/ 1288985 h 1288985"/>
                  <a:gd name="connsiteX3" fmla="*/ 0 w 817130"/>
                  <a:gd name="connsiteY3" fmla="*/ 0 h 1288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17130" h="1288985">
                    <a:moveTo>
                      <a:pt x="817130" y="0"/>
                    </a:moveTo>
                    <a:lnTo>
                      <a:pt x="489394" y="1288985"/>
                    </a:lnTo>
                    <a:lnTo>
                      <a:pt x="0" y="128898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 r="-130200"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BF987556-6CA7-68A5-D74E-398F670BBD91}"/>
                  </a:ext>
                </a:extLst>
              </p:cNvPr>
              <p:cNvSpPr/>
              <p:nvPr/>
            </p:nvSpPr>
            <p:spPr>
              <a:xfrm rot="20744059">
                <a:off x="-179213" y="2650131"/>
                <a:ext cx="1323027" cy="1288985"/>
              </a:xfrm>
              <a:custGeom>
                <a:avLst/>
                <a:gdLst>
                  <a:gd name="connsiteX0" fmla="*/ 1323027 w 1323027"/>
                  <a:gd name="connsiteY0" fmla="*/ 0 h 1288985"/>
                  <a:gd name="connsiteX1" fmla="*/ 1323027 w 1323027"/>
                  <a:gd name="connsiteY1" fmla="*/ 1288985 h 1288985"/>
                  <a:gd name="connsiteX2" fmla="*/ 0 w 1323027"/>
                  <a:gd name="connsiteY2" fmla="*/ 1288985 h 1288985"/>
                  <a:gd name="connsiteX3" fmla="*/ 327736 w 1323027"/>
                  <a:gd name="connsiteY3" fmla="*/ 0 h 1288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23027" h="1288985">
                    <a:moveTo>
                      <a:pt x="1323027" y="0"/>
                    </a:moveTo>
                    <a:lnTo>
                      <a:pt x="1323027" y="1288985"/>
                    </a:lnTo>
                    <a:lnTo>
                      <a:pt x="0" y="1288985"/>
                    </a:lnTo>
                    <a:lnTo>
                      <a:pt x="327736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 l="-45152" r="-1"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9" name="Freeform 9"/>
              <p:cNvSpPr/>
              <p:nvPr/>
            </p:nvSpPr>
            <p:spPr>
              <a:xfrm>
                <a:off x="5778966" y="1"/>
                <a:ext cx="1777534" cy="1015386"/>
              </a:xfrm>
              <a:custGeom>
                <a:avLst/>
                <a:gdLst/>
                <a:ahLst/>
                <a:cxnLst/>
                <a:rect l="l" t="t" r="r" b="b"/>
                <a:pathLst>
                  <a:path w="4032000" h="2046240">
                    <a:moveTo>
                      <a:pt x="0" y="0"/>
                    </a:moveTo>
                    <a:lnTo>
                      <a:pt x="4032000" y="0"/>
                    </a:lnTo>
                    <a:lnTo>
                      <a:pt x="4032000" y="2046240"/>
                    </a:lnTo>
                    <a:lnTo>
                      <a:pt x="0" y="204624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 l="1" t="-51144" r="-70123" b="1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" name="Freeform 10"/>
              <p:cNvSpPr/>
              <p:nvPr/>
            </p:nvSpPr>
            <p:spPr>
              <a:xfrm flipH="1">
                <a:off x="0" y="-1"/>
                <a:ext cx="1781034" cy="1015387"/>
              </a:xfrm>
              <a:custGeom>
                <a:avLst/>
                <a:gdLst/>
                <a:ahLst/>
                <a:cxnLst/>
                <a:rect l="l" t="t" r="r" b="b"/>
                <a:pathLst>
                  <a:path w="4032000" h="2046240">
                    <a:moveTo>
                      <a:pt x="4032000" y="0"/>
                    </a:moveTo>
                    <a:lnTo>
                      <a:pt x="0" y="0"/>
                    </a:lnTo>
                    <a:lnTo>
                      <a:pt x="0" y="2046240"/>
                    </a:lnTo>
                    <a:lnTo>
                      <a:pt x="4032000" y="2046240"/>
                    </a:lnTo>
                    <a:lnTo>
                      <a:pt x="4032000" y="0"/>
                    </a:lnTo>
                    <a:close/>
                  </a:path>
                </a:pathLst>
              </a:custGeom>
              <a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 l="1" t="-51142" r="-69790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EB38F9E0-4066-A07D-4105-46185EC6F744}"/>
                </a:ext>
              </a:extLst>
            </p:cNvPr>
            <p:cNvGrpSpPr/>
            <p:nvPr/>
          </p:nvGrpSpPr>
          <p:grpSpPr>
            <a:xfrm>
              <a:off x="814017" y="8200859"/>
              <a:ext cx="5950550" cy="1657577"/>
              <a:chOff x="814017" y="8200859"/>
              <a:chExt cx="5950550" cy="1657577"/>
            </a:xfrm>
          </p:grpSpPr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5F0A7A3E-7963-B8BA-C74F-7FB583B0779E}"/>
                  </a:ext>
                </a:extLst>
              </p:cNvPr>
              <p:cNvSpPr/>
              <p:nvPr/>
            </p:nvSpPr>
            <p:spPr>
              <a:xfrm>
                <a:off x="814017" y="8200859"/>
                <a:ext cx="5950550" cy="1657577"/>
              </a:xfrm>
              <a:custGeom>
                <a:avLst/>
                <a:gdLst>
                  <a:gd name="connsiteX0" fmla="*/ 2980690 w 5950550"/>
                  <a:gd name="connsiteY0" fmla="*/ 0 h 1657577"/>
                  <a:gd name="connsiteX1" fmla="*/ 5914328 w 5950550"/>
                  <a:gd name="connsiteY1" fmla="*/ 4528 h 1657577"/>
                  <a:gd name="connsiteX2" fmla="*/ 5914397 w 5950550"/>
                  <a:gd name="connsiteY2" fmla="*/ 14878 h 1657577"/>
                  <a:gd name="connsiteX3" fmla="*/ 5918855 w 5950550"/>
                  <a:gd name="connsiteY3" fmla="*/ 14878 h 1657577"/>
                  <a:gd name="connsiteX4" fmla="*/ 5933732 w 5950550"/>
                  <a:gd name="connsiteY4" fmla="*/ 17465 h 1657577"/>
                  <a:gd name="connsiteX5" fmla="*/ 5935026 w 5950550"/>
                  <a:gd name="connsiteY5" fmla="*/ 49809 h 1657577"/>
                  <a:gd name="connsiteX6" fmla="*/ 5938260 w 5950550"/>
                  <a:gd name="connsiteY6" fmla="*/ 153596 h 1657577"/>
                  <a:gd name="connsiteX7" fmla="*/ 5947963 w 5950550"/>
                  <a:gd name="connsiteY7" fmla="*/ 1225638 h 1657577"/>
                  <a:gd name="connsiteX8" fmla="*/ 5949257 w 5950550"/>
                  <a:gd name="connsiteY8" fmla="*/ 1450932 h 1657577"/>
                  <a:gd name="connsiteX9" fmla="*/ 5950550 w 5950550"/>
                  <a:gd name="connsiteY9" fmla="*/ 1626888 h 1657577"/>
                  <a:gd name="connsiteX10" fmla="*/ 5950550 w 5950550"/>
                  <a:gd name="connsiteY10" fmla="*/ 1657290 h 1657577"/>
                  <a:gd name="connsiteX11" fmla="*/ 5918208 w 5950550"/>
                  <a:gd name="connsiteY11" fmla="*/ 1657290 h 1657577"/>
                  <a:gd name="connsiteX12" fmla="*/ 5128621 w 5950550"/>
                  <a:gd name="connsiteY12" fmla="*/ 1655350 h 1657577"/>
                  <a:gd name="connsiteX13" fmla="*/ 4586969 w 5950550"/>
                  <a:gd name="connsiteY13" fmla="*/ 1653409 h 1657577"/>
                  <a:gd name="connsiteX14" fmla="*/ 4334820 w 5950550"/>
                  <a:gd name="connsiteY14" fmla="*/ 1651469 h 1657577"/>
                  <a:gd name="connsiteX15" fmla="*/ 4185399 w 5950550"/>
                  <a:gd name="connsiteY15" fmla="*/ 1652115 h 1657577"/>
                  <a:gd name="connsiteX16" fmla="*/ 3564366 w 5950550"/>
                  <a:gd name="connsiteY16" fmla="*/ 1651469 h 1657577"/>
                  <a:gd name="connsiteX17" fmla="*/ 1509823 w 5950550"/>
                  <a:gd name="connsiteY17" fmla="*/ 1654703 h 1657577"/>
                  <a:gd name="connsiteX18" fmla="*/ 1435112 w 5950550"/>
                  <a:gd name="connsiteY18" fmla="*/ 1655350 h 1657577"/>
                  <a:gd name="connsiteX19" fmla="*/ 1271683 w 5950550"/>
                  <a:gd name="connsiteY19" fmla="*/ 1655997 h 1657577"/>
                  <a:gd name="connsiteX20" fmla="*/ 856104 w 5950550"/>
                  <a:gd name="connsiteY20" fmla="*/ 1654703 h 1657577"/>
                  <a:gd name="connsiteX21" fmla="*/ 608625 w 5950550"/>
                  <a:gd name="connsiteY21" fmla="*/ 1652762 h 1657577"/>
                  <a:gd name="connsiteX22" fmla="*/ 155692 w 5950550"/>
                  <a:gd name="connsiteY22" fmla="*/ 1651469 h 1657577"/>
                  <a:gd name="connsiteX23" fmla="*/ 48295 w 5950550"/>
                  <a:gd name="connsiteY23" fmla="*/ 1650822 h 1657577"/>
                  <a:gd name="connsiteX24" fmla="*/ 14877 w 5950550"/>
                  <a:gd name="connsiteY24" fmla="*/ 1642413 h 1657577"/>
                  <a:gd name="connsiteX25" fmla="*/ 14925 w 5950550"/>
                  <a:gd name="connsiteY25" fmla="*/ 1634661 h 1657577"/>
                  <a:gd name="connsiteX26" fmla="*/ 0 w 5950550"/>
                  <a:gd name="connsiteY26" fmla="*/ 1634651 h 1657577"/>
                  <a:gd name="connsiteX27" fmla="*/ 0 w 5950550"/>
                  <a:gd name="connsiteY27" fmla="*/ 578869 h 1657577"/>
                  <a:gd name="connsiteX28" fmla="*/ 3881 w 5950550"/>
                  <a:gd name="connsiteY28" fmla="*/ 10349 h 1657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5950550" h="1657577">
                    <a:moveTo>
                      <a:pt x="2980690" y="0"/>
                    </a:moveTo>
                    <a:lnTo>
                      <a:pt x="5914328" y="4528"/>
                    </a:lnTo>
                    <a:lnTo>
                      <a:pt x="5914397" y="14878"/>
                    </a:lnTo>
                    <a:lnTo>
                      <a:pt x="5918855" y="14878"/>
                    </a:lnTo>
                    <a:cubicBezTo>
                      <a:pt x="5924030" y="15525"/>
                      <a:pt x="5928558" y="16172"/>
                      <a:pt x="5933732" y="17465"/>
                    </a:cubicBezTo>
                    <a:cubicBezTo>
                      <a:pt x="5934379" y="29558"/>
                      <a:pt x="5935026" y="39684"/>
                      <a:pt x="5935026" y="49809"/>
                    </a:cubicBezTo>
                    <a:cubicBezTo>
                      <a:pt x="5936320" y="83983"/>
                      <a:pt x="5936967" y="119423"/>
                      <a:pt x="5938260" y="153596"/>
                    </a:cubicBezTo>
                    <a:cubicBezTo>
                      <a:pt x="5938260" y="202958"/>
                      <a:pt x="5944082" y="1176276"/>
                      <a:pt x="5947963" y="1225638"/>
                    </a:cubicBezTo>
                    <a:cubicBezTo>
                      <a:pt x="5951197" y="1300314"/>
                      <a:pt x="5949257" y="1376256"/>
                      <a:pt x="5949257" y="1450932"/>
                    </a:cubicBezTo>
                    <a:cubicBezTo>
                      <a:pt x="5949257" y="1515482"/>
                      <a:pt x="5949904" y="1576235"/>
                      <a:pt x="5950550" y="1626888"/>
                    </a:cubicBezTo>
                    <a:lnTo>
                      <a:pt x="5950550" y="1657290"/>
                    </a:lnTo>
                    <a:cubicBezTo>
                      <a:pt x="5938907" y="1657290"/>
                      <a:pt x="5928558" y="1657937"/>
                      <a:pt x="5918208" y="1657290"/>
                    </a:cubicBezTo>
                    <a:cubicBezTo>
                      <a:pt x="5740315" y="1654703"/>
                      <a:pt x="5432134" y="1657937"/>
                      <a:pt x="5128621" y="1655350"/>
                    </a:cubicBezTo>
                    <a:cubicBezTo>
                      <a:pt x="4946514" y="1653409"/>
                      <a:pt x="4769077" y="1654703"/>
                      <a:pt x="4586969" y="1653409"/>
                    </a:cubicBezTo>
                    <a:lnTo>
                      <a:pt x="4334820" y="1651469"/>
                    </a:lnTo>
                    <a:cubicBezTo>
                      <a:pt x="4283457" y="1651469"/>
                      <a:pt x="4236763" y="1652115"/>
                      <a:pt x="4185399" y="1652115"/>
                    </a:cubicBezTo>
                    <a:cubicBezTo>
                      <a:pt x="4054656" y="1652115"/>
                      <a:pt x="3695110" y="1652115"/>
                      <a:pt x="3564366" y="1651469"/>
                    </a:cubicBezTo>
                    <a:cubicBezTo>
                      <a:pt x="3470978" y="1650822"/>
                      <a:pt x="1603211" y="1655350"/>
                      <a:pt x="1509823" y="1654703"/>
                    </a:cubicBezTo>
                    <a:cubicBezTo>
                      <a:pt x="1486476" y="1654703"/>
                      <a:pt x="1458459" y="1655350"/>
                      <a:pt x="1435112" y="1655350"/>
                    </a:cubicBezTo>
                    <a:cubicBezTo>
                      <a:pt x="1379079" y="1655997"/>
                      <a:pt x="1327716" y="1655997"/>
                      <a:pt x="1271683" y="1655997"/>
                    </a:cubicBezTo>
                    <a:cubicBezTo>
                      <a:pt x="1131600" y="1655350"/>
                      <a:pt x="996187" y="1655350"/>
                      <a:pt x="856104" y="1654703"/>
                    </a:cubicBezTo>
                    <a:cubicBezTo>
                      <a:pt x="776724" y="1654056"/>
                      <a:pt x="692675" y="1653409"/>
                      <a:pt x="608625" y="1652762"/>
                    </a:cubicBezTo>
                    <a:cubicBezTo>
                      <a:pt x="454535" y="1652115"/>
                      <a:pt x="305113" y="1652115"/>
                      <a:pt x="155692" y="1651469"/>
                    </a:cubicBezTo>
                    <a:cubicBezTo>
                      <a:pt x="118336" y="1651469"/>
                      <a:pt x="85650" y="1651469"/>
                      <a:pt x="48295" y="1650822"/>
                    </a:cubicBezTo>
                    <a:cubicBezTo>
                      <a:pt x="16170" y="1650175"/>
                      <a:pt x="13583" y="1646941"/>
                      <a:pt x="14877" y="1642413"/>
                    </a:cubicBezTo>
                    <a:lnTo>
                      <a:pt x="14925" y="1634661"/>
                    </a:lnTo>
                    <a:lnTo>
                      <a:pt x="0" y="1634651"/>
                    </a:lnTo>
                    <a:lnTo>
                      <a:pt x="0" y="578869"/>
                    </a:lnTo>
                    <a:lnTo>
                      <a:pt x="3881" y="1034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60" name="TextBox 60"/>
              <p:cNvSpPr txBox="1"/>
              <p:nvPr/>
            </p:nvSpPr>
            <p:spPr>
              <a:xfrm>
                <a:off x="1345532" y="8427977"/>
                <a:ext cx="4887520" cy="28575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279"/>
                  </a:lnSpc>
                </a:pPr>
                <a:r>
                  <a:rPr lang="en-US" sz="1899" dirty="0">
                    <a:solidFill>
                      <a:srgbClr val="002360"/>
                    </a:solidFill>
                    <a:latin typeface="Lilita One"/>
                  </a:rPr>
                  <a:t>My hobbies</a:t>
                </a:r>
              </a:p>
            </p:txBody>
          </p:sp>
          <p:sp>
            <p:nvSpPr>
              <p:cNvPr id="61" name="TextBox 61"/>
              <p:cNvSpPr txBox="1"/>
              <p:nvPr/>
            </p:nvSpPr>
            <p:spPr>
              <a:xfrm>
                <a:off x="1345532" y="8850593"/>
                <a:ext cx="4887520" cy="18288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259080" lvl="1" indent="-129540" algn="l">
                  <a:lnSpc>
                    <a:spcPts val="1500"/>
                  </a:lnSpc>
                  <a:spcBef>
                    <a:spcPct val="0"/>
                  </a:spcBef>
                  <a:buFont typeface="Arial"/>
                  <a:buChar char="•"/>
                </a:pPr>
                <a:r>
                  <a:rPr lang="en-US" sz="1200" dirty="0">
                    <a:solidFill>
                      <a:srgbClr val="002360"/>
                    </a:solidFill>
                    <a:latin typeface="Quicksand" pitchFamily="2" charset="0"/>
                  </a:rPr>
                  <a:t>Reading: Enjoys reading science fiction and fantasy novels.</a:t>
                </a:r>
              </a:p>
            </p:txBody>
          </p:sp>
          <p:sp>
            <p:nvSpPr>
              <p:cNvPr id="62" name="TextBox 62"/>
              <p:cNvSpPr txBox="1"/>
              <p:nvPr/>
            </p:nvSpPr>
            <p:spPr>
              <a:xfrm>
                <a:off x="1345532" y="9151257"/>
                <a:ext cx="4887520" cy="18288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259080" lvl="1" indent="-129540" algn="l">
                  <a:lnSpc>
                    <a:spcPts val="1500"/>
                  </a:lnSpc>
                  <a:spcBef>
                    <a:spcPct val="0"/>
                  </a:spcBef>
                  <a:buFont typeface="Arial"/>
                  <a:buChar char="•"/>
                </a:pPr>
                <a:r>
                  <a:rPr lang="en-US" sz="1200" dirty="0">
                    <a:solidFill>
                      <a:srgbClr val="002360"/>
                    </a:solidFill>
                    <a:latin typeface="Quicksand" pitchFamily="2" charset="0"/>
                  </a:rPr>
                  <a:t>Playing musical instruments: Proficient in playing the piano.</a:t>
                </a:r>
              </a:p>
            </p:txBody>
          </p:sp>
          <p:sp>
            <p:nvSpPr>
              <p:cNvPr id="63" name="TextBox 63"/>
              <p:cNvSpPr txBox="1"/>
              <p:nvPr/>
            </p:nvSpPr>
            <p:spPr>
              <a:xfrm>
                <a:off x="1345532" y="9448437"/>
                <a:ext cx="4887520" cy="18288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259080" lvl="1" indent="-129540" algn="l">
                  <a:lnSpc>
                    <a:spcPts val="1500"/>
                  </a:lnSpc>
                  <a:spcBef>
                    <a:spcPct val="0"/>
                  </a:spcBef>
                  <a:buFont typeface="Arial"/>
                  <a:buChar char="•"/>
                </a:pPr>
                <a:r>
                  <a:rPr lang="en-US" sz="1200" dirty="0">
                    <a:solidFill>
                      <a:srgbClr val="002360"/>
                    </a:solidFill>
                    <a:latin typeface="Quicksand" pitchFamily="2" charset="0"/>
                  </a:rPr>
                  <a:t>Painting or drawing: Creates detailed sketches during free time.</a:t>
                </a:r>
              </a:p>
            </p:txBody>
          </p:sp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AEC8C8B9-A358-2CFE-7BA5-1D7DBCFAED41}"/>
                </a:ext>
              </a:extLst>
            </p:cNvPr>
            <p:cNvGrpSpPr/>
            <p:nvPr/>
          </p:nvGrpSpPr>
          <p:grpSpPr>
            <a:xfrm>
              <a:off x="3910510" y="6627073"/>
              <a:ext cx="2855062" cy="1412617"/>
              <a:chOff x="3910510" y="6627073"/>
              <a:chExt cx="2855062" cy="1412617"/>
            </a:xfrm>
          </p:grpSpPr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83EFD300-A047-A26E-01CF-83FBB459A59C}"/>
                  </a:ext>
                </a:extLst>
              </p:cNvPr>
              <p:cNvSpPr/>
              <p:nvPr/>
            </p:nvSpPr>
            <p:spPr>
              <a:xfrm>
                <a:off x="3910510" y="6627073"/>
                <a:ext cx="2855062" cy="1412617"/>
              </a:xfrm>
              <a:custGeom>
                <a:avLst/>
                <a:gdLst>
                  <a:gd name="connsiteX0" fmla="*/ 1420550 w 2855062"/>
                  <a:gd name="connsiteY0" fmla="*/ 0 h 1412617"/>
                  <a:gd name="connsiteX1" fmla="*/ 2818840 w 2855062"/>
                  <a:gd name="connsiteY1" fmla="*/ 4528 h 1412617"/>
                  <a:gd name="connsiteX2" fmla="*/ 2818922 w 2855062"/>
                  <a:gd name="connsiteY2" fmla="*/ 14878 h 1412617"/>
                  <a:gd name="connsiteX3" fmla="*/ 2823367 w 2855062"/>
                  <a:gd name="connsiteY3" fmla="*/ 14878 h 1412617"/>
                  <a:gd name="connsiteX4" fmla="*/ 2838244 w 2855062"/>
                  <a:gd name="connsiteY4" fmla="*/ 17465 h 1412617"/>
                  <a:gd name="connsiteX5" fmla="*/ 2839538 w 2855062"/>
                  <a:gd name="connsiteY5" fmla="*/ 44930 h 1412617"/>
                  <a:gd name="connsiteX6" fmla="*/ 2842772 w 2855062"/>
                  <a:gd name="connsiteY6" fmla="*/ 132770 h 1412617"/>
                  <a:gd name="connsiteX7" fmla="*/ 2852475 w 2855062"/>
                  <a:gd name="connsiteY7" fmla="*/ 1040096 h 1412617"/>
                  <a:gd name="connsiteX8" fmla="*/ 2853769 w 2855062"/>
                  <a:gd name="connsiteY8" fmla="*/ 1230774 h 1412617"/>
                  <a:gd name="connsiteX9" fmla="*/ 2855062 w 2855062"/>
                  <a:gd name="connsiteY9" fmla="*/ 1381928 h 1412617"/>
                  <a:gd name="connsiteX10" fmla="*/ 2855062 w 2855062"/>
                  <a:gd name="connsiteY10" fmla="*/ 1412330 h 1412617"/>
                  <a:gd name="connsiteX11" fmla="*/ 2822720 w 2855062"/>
                  <a:gd name="connsiteY11" fmla="*/ 1412330 h 1412617"/>
                  <a:gd name="connsiteX12" fmla="*/ 2438052 w 2855062"/>
                  <a:gd name="connsiteY12" fmla="*/ 1410389 h 1412617"/>
                  <a:gd name="connsiteX13" fmla="*/ 2181464 w 2855062"/>
                  <a:gd name="connsiteY13" fmla="*/ 1408448 h 1412617"/>
                  <a:gd name="connsiteX14" fmla="*/ 2062018 w 2855062"/>
                  <a:gd name="connsiteY14" fmla="*/ 1406508 h 1412617"/>
                  <a:gd name="connsiteX15" fmla="*/ 1991235 w 2855062"/>
                  <a:gd name="connsiteY15" fmla="*/ 1407155 h 1412617"/>
                  <a:gd name="connsiteX16" fmla="*/ 1697044 w 2855062"/>
                  <a:gd name="connsiteY16" fmla="*/ 1406508 h 1412617"/>
                  <a:gd name="connsiteX17" fmla="*/ 723780 w 2855062"/>
                  <a:gd name="connsiteY17" fmla="*/ 1409742 h 1412617"/>
                  <a:gd name="connsiteX18" fmla="*/ 688389 w 2855062"/>
                  <a:gd name="connsiteY18" fmla="*/ 1410389 h 1412617"/>
                  <a:gd name="connsiteX19" fmla="*/ 610970 w 2855062"/>
                  <a:gd name="connsiteY19" fmla="*/ 1411036 h 1412617"/>
                  <a:gd name="connsiteX20" fmla="*/ 414105 w 2855062"/>
                  <a:gd name="connsiteY20" fmla="*/ 1409742 h 1412617"/>
                  <a:gd name="connsiteX21" fmla="*/ 296871 w 2855062"/>
                  <a:gd name="connsiteY21" fmla="*/ 1407802 h 1412617"/>
                  <a:gd name="connsiteX22" fmla="*/ 82311 w 2855062"/>
                  <a:gd name="connsiteY22" fmla="*/ 1406508 h 1412617"/>
                  <a:gd name="connsiteX23" fmla="*/ 31436 w 2855062"/>
                  <a:gd name="connsiteY23" fmla="*/ 1405861 h 1412617"/>
                  <a:gd name="connsiteX24" fmla="*/ 14877 w 2855062"/>
                  <a:gd name="connsiteY24" fmla="*/ 1397452 h 1412617"/>
                  <a:gd name="connsiteX25" fmla="*/ 14908 w 2855062"/>
                  <a:gd name="connsiteY25" fmla="*/ 1389711 h 1412617"/>
                  <a:gd name="connsiteX26" fmla="*/ 0 w 2855062"/>
                  <a:gd name="connsiteY26" fmla="*/ 1389690 h 1412617"/>
                  <a:gd name="connsiteX27" fmla="*/ 0 w 2855062"/>
                  <a:gd name="connsiteY27" fmla="*/ 492701 h 1412617"/>
                  <a:gd name="connsiteX28" fmla="*/ 3881 w 2855062"/>
                  <a:gd name="connsiteY28" fmla="*/ 10349 h 1412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855062" h="1412617">
                    <a:moveTo>
                      <a:pt x="1420550" y="0"/>
                    </a:moveTo>
                    <a:lnTo>
                      <a:pt x="2818840" y="4528"/>
                    </a:lnTo>
                    <a:lnTo>
                      <a:pt x="2818922" y="14878"/>
                    </a:lnTo>
                    <a:lnTo>
                      <a:pt x="2823367" y="14878"/>
                    </a:lnTo>
                    <a:cubicBezTo>
                      <a:pt x="2828542" y="15525"/>
                      <a:pt x="2833070" y="16172"/>
                      <a:pt x="2838244" y="17465"/>
                    </a:cubicBezTo>
                    <a:cubicBezTo>
                      <a:pt x="2838891" y="27791"/>
                      <a:pt x="2839538" y="36360"/>
                      <a:pt x="2839538" y="44930"/>
                    </a:cubicBezTo>
                    <a:cubicBezTo>
                      <a:pt x="2840832" y="73854"/>
                      <a:pt x="2841479" y="103848"/>
                      <a:pt x="2842772" y="132770"/>
                    </a:cubicBezTo>
                    <a:cubicBezTo>
                      <a:pt x="2842772" y="174548"/>
                      <a:pt x="2848594" y="998319"/>
                      <a:pt x="2852475" y="1040096"/>
                    </a:cubicBezTo>
                    <a:cubicBezTo>
                      <a:pt x="2855709" y="1103299"/>
                      <a:pt x="2853769" y="1167572"/>
                      <a:pt x="2853769" y="1230774"/>
                    </a:cubicBezTo>
                    <a:cubicBezTo>
                      <a:pt x="2853769" y="1285407"/>
                      <a:pt x="2854415" y="1336825"/>
                      <a:pt x="2855062" y="1381928"/>
                    </a:cubicBezTo>
                    <a:lnTo>
                      <a:pt x="2855062" y="1412330"/>
                    </a:lnTo>
                    <a:cubicBezTo>
                      <a:pt x="2843419" y="1412330"/>
                      <a:pt x="2833070" y="1412976"/>
                      <a:pt x="2822720" y="1412330"/>
                    </a:cubicBezTo>
                    <a:cubicBezTo>
                      <a:pt x="2727819" y="1409742"/>
                      <a:pt x="2581829" y="1412976"/>
                      <a:pt x="2438052" y="1410389"/>
                    </a:cubicBezTo>
                    <a:cubicBezTo>
                      <a:pt x="2351785" y="1408448"/>
                      <a:pt x="2267731" y="1409742"/>
                      <a:pt x="2181464" y="1408448"/>
                    </a:cubicBezTo>
                    <a:lnTo>
                      <a:pt x="2062018" y="1406508"/>
                    </a:lnTo>
                    <a:cubicBezTo>
                      <a:pt x="2037687" y="1406508"/>
                      <a:pt x="2015567" y="1407155"/>
                      <a:pt x="1991235" y="1407155"/>
                    </a:cubicBezTo>
                    <a:cubicBezTo>
                      <a:pt x="1929300" y="1407155"/>
                      <a:pt x="1758979" y="1407155"/>
                      <a:pt x="1697044" y="1406508"/>
                    </a:cubicBezTo>
                    <a:cubicBezTo>
                      <a:pt x="1652805" y="1405861"/>
                      <a:pt x="768020" y="1410389"/>
                      <a:pt x="723780" y="1409742"/>
                    </a:cubicBezTo>
                    <a:cubicBezTo>
                      <a:pt x="712721" y="1409742"/>
                      <a:pt x="699449" y="1410389"/>
                      <a:pt x="688389" y="1410389"/>
                    </a:cubicBezTo>
                    <a:cubicBezTo>
                      <a:pt x="661846" y="1411036"/>
                      <a:pt x="637514" y="1411036"/>
                      <a:pt x="610970" y="1411036"/>
                    </a:cubicBezTo>
                    <a:cubicBezTo>
                      <a:pt x="544611" y="1410389"/>
                      <a:pt x="480465" y="1410389"/>
                      <a:pt x="414105" y="1409742"/>
                    </a:cubicBezTo>
                    <a:cubicBezTo>
                      <a:pt x="376502" y="1409096"/>
                      <a:pt x="336687" y="1408448"/>
                      <a:pt x="296871" y="1407802"/>
                    </a:cubicBezTo>
                    <a:cubicBezTo>
                      <a:pt x="223877" y="1407155"/>
                      <a:pt x="153094" y="1407155"/>
                      <a:pt x="82311" y="1406508"/>
                    </a:cubicBezTo>
                    <a:cubicBezTo>
                      <a:pt x="64615" y="1406508"/>
                      <a:pt x="49132" y="1406508"/>
                      <a:pt x="31436" y="1405861"/>
                    </a:cubicBezTo>
                    <a:cubicBezTo>
                      <a:pt x="16171" y="1405214"/>
                      <a:pt x="13583" y="1401980"/>
                      <a:pt x="14877" y="1397452"/>
                    </a:cubicBezTo>
                    <a:lnTo>
                      <a:pt x="14908" y="1389711"/>
                    </a:lnTo>
                    <a:lnTo>
                      <a:pt x="0" y="1389690"/>
                    </a:lnTo>
                    <a:lnTo>
                      <a:pt x="0" y="492701"/>
                    </a:lnTo>
                    <a:lnTo>
                      <a:pt x="3881" y="1034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9" name="TextBox 29"/>
              <p:cNvSpPr txBox="1"/>
              <p:nvPr/>
            </p:nvSpPr>
            <p:spPr>
              <a:xfrm>
                <a:off x="4111534" y="7302917"/>
                <a:ext cx="2399073" cy="18288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259080" lvl="1" indent="-129540" algn="l">
                  <a:lnSpc>
                    <a:spcPts val="1500"/>
                  </a:lnSpc>
                  <a:spcBef>
                    <a:spcPct val="0"/>
                  </a:spcBef>
                  <a:buFont typeface="Arial"/>
                  <a:buChar char="•"/>
                </a:pPr>
                <a:r>
                  <a:rPr lang="en-US" sz="1200" dirty="0">
                    <a:solidFill>
                      <a:srgbClr val="002360"/>
                    </a:solidFill>
                    <a:latin typeface="Quicksand" pitchFamily="2" charset="0"/>
                  </a:rPr>
                  <a:t>Parents, one older brother</a:t>
                </a:r>
              </a:p>
            </p:txBody>
          </p:sp>
          <p:sp>
            <p:nvSpPr>
              <p:cNvPr id="30" name="TextBox 30"/>
              <p:cNvSpPr txBox="1"/>
              <p:nvPr/>
            </p:nvSpPr>
            <p:spPr>
              <a:xfrm>
                <a:off x="4111534" y="7603581"/>
                <a:ext cx="2399073" cy="18288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259080" lvl="1" indent="-129540" algn="l">
                  <a:lnSpc>
                    <a:spcPts val="1500"/>
                  </a:lnSpc>
                  <a:spcBef>
                    <a:spcPct val="0"/>
                  </a:spcBef>
                  <a:buFont typeface="Arial"/>
                  <a:buChar char="•"/>
                </a:pPr>
                <a:r>
                  <a:rPr lang="en-US" sz="1200" dirty="0">
                    <a:solidFill>
                      <a:srgbClr val="002360"/>
                    </a:solidFill>
                    <a:latin typeface="Quicksand" pitchFamily="2" charset="0"/>
                  </a:rPr>
                  <a:t>One dog</a:t>
                </a:r>
              </a:p>
            </p:txBody>
          </p:sp>
          <p:sp>
            <p:nvSpPr>
              <p:cNvPr id="31" name="TextBox 31"/>
              <p:cNvSpPr txBox="1"/>
              <p:nvPr/>
            </p:nvSpPr>
            <p:spPr>
              <a:xfrm>
                <a:off x="4138505" y="6880301"/>
                <a:ext cx="2399073" cy="28575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279"/>
                  </a:lnSpc>
                </a:pPr>
                <a:r>
                  <a:rPr lang="en-US" sz="1899" dirty="0">
                    <a:solidFill>
                      <a:srgbClr val="002360"/>
                    </a:solidFill>
                    <a:latin typeface="Lilita One"/>
                  </a:rPr>
                  <a:t>Family Background</a:t>
                </a:r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B9387865-8073-B800-2C72-415D668CC3BC}"/>
                </a:ext>
              </a:extLst>
            </p:cNvPr>
            <p:cNvGrpSpPr/>
            <p:nvPr/>
          </p:nvGrpSpPr>
          <p:grpSpPr>
            <a:xfrm>
              <a:off x="814017" y="5672453"/>
              <a:ext cx="2845659" cy="2367236"/>
              <a:chOff x="814017" y="5672453"/>
              <a:chExt cx="2845659" cy="2367236"/>
            </a:xfrm>
          </p:grpSpPr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56543C81-6E6D-B577-4C2C-AC6AA51A2E38}"/>
                  </a:ext>
                </a:extLst>
              </p:cNvPr>
              <p:cNvSpPr/>
              <p:nvPr/>
            </p:nvSpPr>
            <p:spPr>
              <a:xfrm>
                <a:off x="814017" y="5672453"/>
                <a:ext cx="2845659" cy="2367236"/>
              </a:xfrm>
              <a:custGeom>
                <a:avLst/>
                <a:gdLst>
                  <a:gd name="connsiteX0" fmla="*/ 1415810 w 2845659"/>
                  <a:gd name="connsiteY0" fmla="*/ 0 h 2367236"/>
                  <a:gd name="connsiteX1" fmla="*/ 2809437 w 2845659"/>
                  <a:gd name="connsiteY1" fmla="*/ 4528 h 2367236"/>
                  <a:gd name="connsiteX2" fmla="*/ 2809485 w 2845659"/>
                  <a:gd name="connsiteY2" fmla="*/ 14878 h 2367236"/>
                  <a:gd name="connsiteX3" fmla="*/ 2813964 w 2845659"/>
                  <a:gd name="connsiteY3" fmla="*/ 14878 h 2367236"/>
                  <a:gd name="connsiteX4" fmla="*/ 2828841 w 2845659"/>
                  <a:gd name="connsiteY4" fmla="*/ 17465 h 2367236"/>
                  <a:gd name="connsiteX5" fmla="*/ 2830135 w 2845659"/>
                  <a:gd name="connsiteY5" fmla="*/ 63944 h 2367236"/>
                  <a:gd name="connsiteX6" fmla="*/ 2833369 w 2845659"/>
                  <a:gd name="connsiteY6" fmla="*/ 213928 h 2367236"/>
                  <a:gd name="connsiteX7" fmla="*/ 2843072 w 2845659"/>
                  <a:gd name="connsiteY7" fmla="*/ 1763158 h 2367236"/>
                  <a:gd name="connsiteX8" fmla="*/ 2844366 w 2845659"/>
                  <a:gd name="connsiteY8" fmla="*/ 2088734 h 2367236"/>
                  <a:gd name="connsiteX9" fmla="*/ 2845659 w 2845659"/>
                  <a:gd name="connsiteY9" fmla="*/ 2336548 h 2367236"/>
                  <a:gd name="connsiteX10" fmla="*/ 2845659 w 2845659"/>
                  <a:gd name="connsiteY10" fmla="*/ 2366949 h 2367236"/>
                  <a:gd name="connsiteX11" fmla="*/ 2813317 w 2845659"/>
                  <a:gd name="connsiteY11" fmla="*/ 2366949 h 2367236"/>
                  <a:gd name="connsiteX12" fmla="*/ 2429878 w 2845659"/>
                  <a:gd name="connsiteY12" fmla="*/ 2365009 h 2367236"/>
                  <a:gd name="connsiteX13" fmla="*/ 2174157 w 2845659"/>
                  <a:gd name="connsiteY13" fmla="*/ 2363068 h 2367236"/>
                  <a:gd name="connsiteX14" fmla="*/ 2055114 w 2845659"/>
                  <a:gd name="connsiteY14" fmla="*/ 2361128 h 2367236"/>
                  <a:gd name="connsiteX15" fmla="*/ 1984570 w 2845659"/>
                  <a:gd name="connsiteY15" fmla="*/ 2361775 h 2367236"/>
                  <a:gd name="connsiteX16" fmla="*/ 1691372 w 2845659"/>
                  <a:gd name="connsiteY16" fmla="*/ 2361128 h 2367236"/>
                  <a:gd name="connsiteX17" fmla="*/ 721393 w 2845659"/>
                  <a:gd name="connsiteY17" fmla="*/ 2364362 h 2367236"/>
                  <a:gd name="connsiteX18" fmla="*/ 686121 w 2845659"/>
                  <a:gd name="connsiteY18" fmla="*/ 2365009 h 2367236"/>
                  <a:gd name="connsiteX19" fmla="*/ 608963 w 2845659"/>
                  <a:gd name="connsiteY19" fmla="*/ 2365656 h 2367236"/>
                  <a:gd name="connsiteX20" fmla="*/ 412763 w 2845659"/>
                  <a:gd name="connsiteY20" fmla="*/ 2364362 h 2367236"/>
                  <a:gd name="connsiteX21" fmla="*/ 295924 w 2845659"/>
                  <a:gd name="connsiteY21" fmla="*/ 2362421 h 2367236"/>
                  <a:gd name="connsiteX22" fmla="*/ 82088 w 2845659"/>
                  <a:gd name="connsiteY22" fmla="*/ 2361128 h 2367236"/>
                  <a:gd name="connsiteX23" fmla="*/ 31385 w 2845659"/>
                  <a:gd name="connsiteY23" fmla="*/ 2360481 h 2367236"/>
                  <a:gd name="connsiteX24" fmla="*/ 14877 w 2845659"/>
                  <a:gd name="connsiteY24" fmla="*/ 2352072 h 2367236"/>
                  <a:gd name="connsiteX25" fmla="*/ 14895 w 2845659"/>
                  <a:gd name="connsiteY25" fmla="*/ 2344331 h 2367236"/>
                  <a:gd name="connsiteX26" fmla="*/ 0 w 2845659"/>
                  <a:gd name="connsiteY26" fmla="*/ 2344310 h 2367236"/>
                  <a:gd name="connsiteX27" fmla="*/ 0 w 2845659"/>
                  <a:gd name="connsiteY27" fmla="*/ 828498 h 2367236"/>
                  <a:gd name="connsiteX28" fmla="*/ 3881 w 2845659"/>
                  <a:gd name="connsiteY28" fmla="*/ 10349 h 2367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845659" h="2367236">
                    <a:moveTo>
                      <a:pt x="1415810" y="0"/>
                    </a:moveTo>
                    <a:lnTo>
                      <a:pt x="2809437" y="4528"/>
                    </a:lnTo>
                    <a:lnTo>
                      <a:pt x="2809485" y="14878"/>
                    </a:lnTo>
                    <a:lnTo>
                      <a:pt x="2813964" y="14878"/>
                    </a:lnTo>
                    <a:cubicBezTo>
                      <a:pt x="2819139" y="15525"/>
                      <a:pt x="2823667" y="16172"/>
                      <a:pt x="2828841" y="17465"/>
                    </a:cubicBezTo>
                    <a:cubicBezTo>
                      <a:pt x="2829488" y="34678"/>
                      <a:pt x="2830135" y="49311"/>
                      <a:pt x="2830135" y="63944"/>
                    </a:cubicBezTo>
                    <a:cubicBezTo>
                      <a:pt x="2831429" y="113328"/>
                      <a:pt x="2832076" y="164543"/>
                      <a:pt x="2833369" y="213928"/>
                    </a:cubicBezTo>
                    <a:cubicBezTo>
                      <a:pt x="2833369" y="285262"/>
                      <a:pt x="2839191" y="1691824"/>
                      <a:pt x="2843072" y="1763158"/>
                    </a:cubicBezTo>
                    <a:cubicBezTo>
                      <a:pt x="2846306" y="1871074"/>
                      <a:pt x="2844366" y="1980819"/>
                      <a:pt x="2844366" y="2088734"/>
                    </a:cubicBezTo>
                    <a:cubicBezTo>
                      <a:pt x="2844366" y="2182017"/>
                      <a:pt x="2845012" y="2269813"/>
                      <a:pt x="2845659" y="2336548"/>
                    </a:cubicBezTo>
                    <a:lnTo>
                      <a:pt x="2845659" y="2366949"/>
                    </a:lnTo>
                    <a:cubicBezTo>
                      <a:pt x="2834016" y="2366949"/>
                      <a:pt x="2823667" y="2367596"/>
                      <a:pt x="2813317" y="2366949"/>
                    </a:cubicBezTo>
                    <a:cubicBezTo>
                      <a:pt x="2718668" y="2364362"/>
                      <a:pt x="2573171" y="2367596"/>
                      <a:pt x="2429878" y="2365009"/>
                    </a:cubicBezTo>
                    <a:cubicBezTo>
                      <a:pt x="2343903" y="2363068"/>
                      <a:pt x="2260132" y="2364362"/>
                      <a:pt x="2174157" y="2363068"/>
                    </a:cubicBezTo>
                    <a:lnTo>
                      <a:pt x="2055114" y="2361128"/>
                    </a:lnTo>
                    <a:cubicBezTo>
                      <a:pt x="2030865" y="2361128"/>
                      <a:pt x="2008819" y="2361775"/>
                      <a:pt x="1984570" y="2361775"/>
                    </a:cubicBezTo>
                    <a:cubicBezTo>
                      <a:pt x="1922844" y="2361775"/>
                      <a:pt x="1753098" y="2361775"/>
                      <a:pt x="1691372" y="2361128"/>
                    </a:cubicBezTo>
                    <a:cubicBezTo>
                      <a:pt x="1647282" y="2360481"/>
                      <a:pt x="765483" y="2365009"/>
                      <a:pt x="721393" y="2364362"/>
                    </a:cubicBezTo>
                    <a:cubicBezTo>
                      <a:pt x="710370" y="2364362"/>
                      <a:pt x="697143" y="2365009"/>
                      <a:pt x="686121" y="2365009"/>
                    </a:cubicBezTo>
                    <a:cubicBezTo>
                      <a:pt x="659666" y="2365656"/>
                      <a:pt x="635417" y="2365656"/>
                      <a:pt x="608963" y="2365656"/>
                    </a:cubicBezTo>
                    <a:cubicBezTo>
                      <a:pt x="542828" y="2365009"/>
                      <a:pt x="478898" y="2365009"/>
                      <a:pt x="412763" y="2364362"/>
                    </a:cubicBezTo>
                    <a:cubicBezTo>
                      <a:pt x="375286" y="2363715"/>
                      <a:pt x="335606" y="2363068"/>
                      <a:pt x="295924" y="2362421"/>
                    </a:cubicBezTo>
                    <a:cubicBezTo>
                      <a:pt x="223176" y="2361775"/>
                      <a:pt x="152632" y="2361775"/>
                      <a:pt x="82088" y="2361128"/>
                    </a:cubicBezTo>
                    <a:cubicBezTo>
                      <a:pt x="64452" y="2361128"/>
                      <a:pt x="49020" y="2361128"/>
                      <a:pt x="31385" y="2360481"/>
                    </a:cubicBezTo>
                    <a:cubicBezTo>
                      <a:pt x="16170" y="2359834"/>
                      <a:pt x="13583" y="2356600"/>
                      <a:pt x="14877" y="2352072"/>
                    </a:cubicBezTo>
                    <a:lnTo>
                      <a:pt x="14895" y="2344331"/>
                    </a:lnTo>
                    <a:lnTo>
                      <a:pt x="0" y="2344310"/>
                    </a:lnTo>
                    <a:lnTo>
                      <a:pt x="0" y="828498"/>
                    </a:lnTo>
                    <a:lnTo>
                      <a:pt x="3881" y="1034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0" name="TextBox 50"/>
              <p:cNvSpPr txBox="1"/>
              <p:nvPr/>
            </p:nvSpPr>
            <p:spPr>
              <a:xfrm>
                <a:off x="1037310" y="6349143"/>
                <a:ext cx="2399073" cy="18288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259080" lvl="1" indent="-129540" algn="l">
                  <a:lnSpc>
                    <a:spcPts val="1500"/>
                  </a:lnSpc>
                  <a:spcBef>
                    <a:spcPct val="0"/>
                  </a:spcBef>
                  <a:buFont typeface="Arial"/>
                  <a:buChar char="•"/>
                </a:pPr>
                <a:r>
                  <a:rPr lang="en-US" sz="1200" dirty="0">
                    <a:solidFill>
                      <a:srgbClr val="002360"/>
                    </a:solidFill>
                    <a:latin typeface="Quicksand" pitchFamily="2" charset="0"/>
                  </a:rPr>
                  <a:t>Food: Pizza, chocolate</a:t>
                </a:r>
              </a:p>
            </p:txBody>
          </p:sp>
          <p:sp>
            <p:nvSpPr>
              <p:cNvPr id="51" name="TextBox 51"/>
              <p:cNvSpPr txBox="1"/>
              <p:nvPr/>
            </p:nvSpPr>
            <p:spPr>
              <a:xfrm>
                <a:off x="1037310" y="6649807"/>
                <a:ext cx="2399073" cy="18288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259080" lvl="1" indent="-129540" algn="l">
                  <a:lnSpc>
                    <a:spcPts val="1500"/>
                  </a:lnSpc>
                  <a:spcBef>
                    <a:spcPct val="0"/>
                  </a:spcBef>
                  <a:buFont typeface="Arial"/>
                  <a:buChar char="•"/>
                </a:pPr>
                <a:r>
                  <a:rPr lang="en-US" sz="1200" dirty="0">
                    <a:solidFill>
                      <a:srgbClr val="002360"/>
                    </a:solidFill>
                    <a:latin typeface="Quicksand" pitchFamily="2" charset="0"/>
                  </a:rPr>
                  <a:t>Animals: Dog, cat</a:t>
                </a:r>
              </a:p>
            </p:txBody>
          </p:sp>
          <p:sp>
            <p:nvSpPr>
              <p:cNvPr id="52" name="TextBox 52"/>
              <p:cNvSpPr txBox="1"/>
              <p:nvPr/>
            </p:nvSpPr>
            <p:spPr>
              <a:xfrm>
                <a:off x="1037310" y="6946987"/>
                <a:ext cx="2399073" cy="18288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259080" lvl="1" indent="-129540" algn="l">
                  <a:lnSpc>
                    <a:spcPts val="1500"/>
                  </a:lnSpc>
                  <a:spcBef>
                    <a:spcPct val="0"/>
                  </a:spcBef>
                  <a:buFont typeface="Arial"/>
                  <a:buChar char="•"/>
                </a:pPr>
                <a:r>
                  <a:rPr lang="en-US" sz="1200" dirty="0">
                    <a:solidFill>
                      <a:srgbClr val="002360"/>
                    </a:solidFill>
                    <a:latin typeface="Quicksand" pitchFamily="2" charset="0"/>
                  </a:rPr>
                  <a:t>Sports: Badminton, basketball</a:t>
                </a:r>
              </a:p>
            </p:txBody>
          </p:sp>
          <p:sp>
            <p:nvSpPr>
              <p:cNvPr id="53" name="TextBox 53"/>
              <p:cNvSpPr txBox="1"/>
              <p:nvPr/>
            </p:nvSpPr>
            <p:spPr>
              <a:xfrm>
                <a:off x="1037310" y="7244167"/>
                <a:ext cx="2399073" cy="18288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259080" lvl="1" indent="-129540" algn="l">
                  <a:lnSpc>
                    <a:spcPts val="1500"/>
                  </a:lnSpc>
                  <a:spcBef>
                    <a:spcPct val="0"/>
                  </a:spcBef>
                  <a:buFont typeface="Arial"/>
                  <a:buChar char="•"/>
                </a:pPr>
                <a:r>
                  <a:rPr lang="en-US" sz="1200" dirty="0">
                    <a:solidFill>
                      <a:srgbClr val="002360"/>
                    </a:solidFill>
                    <a:latin typeface="Quicksand" pitchFamily="2" charset="0"/>
                  </a:rPr>
                  <a:t>Colors:</a:t>
                </a:r>
              </a:p>
            </p:txBody>
          </p:sp>
          <p:sp>
            <p:nvSpPr>
              <p:cNvPr id="54" name="Freeform 54"/>
              <p:cNvSpPr/>
              <p:nvPr/>
            </p:nvSpPr>
            <p:spPr>
              <a:xfrm>
                <a:off x="1299889" y="7541347"/>
                <a:ext cx="200911" cy="244269"/>
              </a:xfrm>
              <a:custGeom>
                <a:avLst/>
                <a:gdLst/>
                <a:ahLst/>
                <a:cxnLst/>
                <a:rect l="l" t="t" r="r" b="b"/>
                <a:pathLst>
                  <a:path w="200911" h="244269">
                    <a:moveTo>
                      <a:pt x="0" y="0"/>
                    </a:moveTo>
                    <a:lnTo>
                      <a:pt x="200911" y="0"/>
                    </a:lnTo>
                    <a:lnTo>
                      <a:pt x="200911" y="244269"/>
                    </a:lnTo>
                    <a:lnTo>
                      <a:pt x="0" y="24426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" name="Freeform 55"/>
              <p:cNvSpPr/>
              <p:nvPr/>
            </p:nvSpPr>
            <p:spPr>
              <a:xfrm>
                <a:off x="1670846" y="7541347"/>
                <a:ext cx="200911" cy="244269"/>
              </a:xfrm>
              <a:custGeom>
                <a:avLst/>
                <a:gdLst/>
                <a:ahLst/>
                <a:cxnLst/>
                <a:rect l="l" t="t" r="r" b="b"/>
                <a:pathLst>
                  <a:path w="200911" h="244269">
                    <a:moveTo>
                      <a:pt x="0" y="0"/>
                    </a:moveTo>
                    <a:lnTo>
                      <a:pt x="200911" y="0"/>
                    </a:lnTo>
                    <a:lnTo>
                      <a:pt x="200911" y="244269"/>
                    </a:lnTo>
                    <a:lnTo>
                      <a:pt x="0" y="24426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" name="Freeform 56"/>
              <p:cNvSpPr/>
              <p:nvPr/>
            </p:nvSpPr>
            <p:spPr>
              <a:xfrm>
                <a:off x="2041804" y="7541347"/>
                <a:ext cx="200911" cy="244269"/>
              </a:xfrm>
              <a:custGeom>
                <a:avLst/>
                <a:gdLst/>
                <a:ahLst/>
                <a:cxnLst/>
                <a:rect l="l" t="t" r="r" b="b"/>
                <a:pathLst>
                  <a:path w="200911" h="244269">
                    <a:moveTo>
                      <a:pt x="0" y="0"/>
                    </a:moveTo>
                    <a:lnTo>
                      <a:pt x="200911" y="0"/>
                    </a:lnTo>
                    <a:lnTo>
                      <a:pt x="200911" y="244269"/>
                    </a:lnTo>
                    <a:lnTo>
                      <a:pt x="0" y="24426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7" name="Freeform 57"/>
              <p:cNvSpPr/>
              <p:nvPr/>
            </p:nvSpPr>
            <p:spPr>
              <a:xfrm>
                <a:off x="2412762" y="7541347"/>
                <a:ext cx="200911" cy="244269"/>
              </a:xfrm>
              <a:custGeom>
                <a:avLst/>
                <a:gdLst/>
                <a:ahLst/>
                <a:cxnLst/>
                <a:rect l="l" t="t" r="r" b="b"/>
                <a:pathLst>
                  <a:path w="200911" h="244269">
                    <a:moveTo>
                      <a:pt x="0" y="0"/>
                    </a:moveTo>
                    <a:lnTo>
                      <a:pt x="200911" y="0"/>
                    </a:lnTo>
                    <a:lnTo>
                      <a:pt x="200911" y="244269"/>
                    </a:lnTo>
                    <a:lnTo>
                      <a:pt x="0" y="24426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5"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8" name="Freeform 58"/>
              <p:cNvSpPr/>
              <p:nvPr/>
            </p:nvSpPr>
            <p:spPr>
              <a:xfrm>
                <a:off x="2783720" y="7541347"/>
                <a:ext cx="200911" cy="244269"/>
              </a:xfrm>
              <a:custGeom>
                <a:avLst/>
                <a:gdLst/>
                <a:ahLst/>
                <a:cxnLst/>
                <a:rect l="l" t="t" r="r" b="b"/>
                <a:pathLst>
                  <a:path w="200911" h="244269">
                    <a:moveTo>
                      <a:pt x="0" y="0"/>
                    </a:moveTo>
                    <a:lnTo>
                      <a:pt x="200911" y="0"/>
                    </a:lnTo>
                    <a:lnTo>
                      <a:pt x="200911" y="244269"/>
                    </a:lnTo>
                    <a:lnTo>
                      <a:pt x="0" y="24426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9" name="TextBox 59"/>
              <p:cNvSpPr txBox="1"/>
              <p:nvPr/>
            </p:nvSpPr>
            <p:spPr>
              <a:xfrm>
                <a:off x="1037310" y="5926527"/>
                <a:ext cx="2399073" cy="28575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279"/>
                  </a:lnSpc>
                </a:pPr>
                <a:r>
                  <a:rPr lang="en-US" sz="1899" dirty="0">
                    <a:solidFill>
                      <a:srgbClr val="002360"/>
                    </a:solidFill>
                    <a:latin typeface="Lilita One"/>
                  </a:rPr>
                  <a:t>My favorites</a:t>
                </a:r>
              </a:p>
            </p:txBody>
          </p:sp>
        </p:grp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55B6054D-8B7E-9FEA-ED81-6863E5C3DE50}"/>
                </a:ext>
              </a:extLst>
            </p:cNvPr>
            <p:cNvGrpSpPr/>
            <p:nvPr/>
          </p:nvGrpSpPr>
          <p:grpSpPr>
            <a:xfrm>
              <a:off x="3910510" y="4043979"/>
              <a:ext cx="2855062" cy="2421927"/>
              <a:chOff x="3910510" y="4043979"/>
              <a:chExt cx="2855062" cy="2421927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7D25205E-07A3-3D8B-1FFB-BFF5F73DCBB7}"/>
                  </a:ext>
                </a:extLst>
              </p:cNvPr>
              <p:cNvSpPr/>
              <p:nvPr/>
            </p:nvSpPr>
            <p:spPr>
              <a:xfrm>
                <a:off x="3910510" y="4043979"/>
                <a:ext cx="2855062" cy="2421927"/>
              </a:xfrm>
              <a:custGeom>
                <a:avLst/>
                <a:gdLst>
                  <a:gd name="connsiteX0" fmla="*/ 1420550 w 2855062"/>
                  <a:gd name="connsiteY0" fmla="*/ 0 h 2421927"/>
                  <a:gd name="connsiteX1" fmla="*/ 2818840 w 2855062"/>
                  <a:gd name="connsiteY1" fmla="*/ 4528 h 2421927"/>
                  <a:gd name="connsiteX2" fmla="*/ 2818888 w 2855062"/>
                  <a:gd name="connsiteY2" fmla="*/ 14878 h 2421927"/>
                  <a:gd name="connsiteX3" fmla="*/ 2823367 w 2855062"/>
                  <a:gd name="connsiteY3" fmla="*/ 14878 h 2421927"/>
                  <a:gd name="connsiteX4" fmla="*/ 2838244 w 2855062"/>
                  <a:gd name="connsiteY4" fmla="*/ 17465 h 2421927"/>
                  <a:gd name="connsiteX5" fmla="*/ 2839538 w 2855062"/>
                  <a:gd name="connsiteY5" fmla="*/ 65033 h 2421927"/>
                  <a:gd name="connsiteX6" fmla="*/ 2842772 w 2855062"/>
                  <a:gd name="connsiteY6" fmla="*/ 218577 h 2421927"/>
                  <a:gd name="connsiteX7" fmla="*/ 2852475 w 2855062"/>
                  <a:gd name="connsiteY7" fmla="*/ 1804582 h 2421927"/>
                  <a:gd name="connsiteX8" fmla="*/ 2853769 w 2855062"/>
                  <a:gd name="connsiteY8" fmla="*/ 2137887 h 2421927"/>
                  <a:gd name="connsiteX9" fmla="*/ 2855062 w 2855062"/>
                  <a:gd name="connsiteY9" fmla="*/ 2391238 h 2421927"/>
                  <a:gd name="connsiteX10" fmla="*/ 2855062 w 2855062"/>
                  <a:gd name="connsiteY10" fmla="*/ 2421640 h 2421927"/>
                  <a:gd name="connsiteX11" fmla="*/ 2822720 w 2855062"/>
                  <a:gd name="connsiteY11" fmla="*/ 2421640 h 2421927"/>
                  <a:gd name="connsiteX12" fmla="*/ 2438052 w 2855062"/>
                  <a:gd name="connsiteY12" fmla="*/ 2419699 h 2421927"/>
                  <a:gd name="connsiteX13" fmla="*/ 2181464 w 2855062"/>
                  <a:gd name="connsiteY13" fmla="*/ 2417759 h 2421927"/>
                  <a:gd name="connsiteX14" fmla="*/ 2062018 w 2855062"/>
                  <a:gd name="connsiteY14" fmla="*/ 2415818 h 2421927"/>
                  <a:gd name="connsiteX15" fmla="*/ 1991235 w 2855062"/>
                  <a:gd name="connsiteY15" fmla="*/ 2416465 h 2421927"/>
                  <a:gd name="connsiteX16" fmla="*/ 1697044 w 2855062"/>
                  <a:gd name="connsiteY16" fmla="*/ 2415818 h 2421927"/>
                  <a:gd name="connsiteX17" fmla="*/ 723780 w 2855062"/>
                  <a:gd name="connsiteY17" fmla="*/ 2419052 h 2421927"/>
                  <a:gd name="connsiteX18" fmla="*/ 688389 w 2855062"/>
                  <a:gd name="connsiteY18" fmla="*/ 2419699 h 2421927"/>
                  <a:gd name="connsiteX19" fmla="*/ 610970 w 2855062"/>
                  <a:gd name="connsiteY19" fmla="*/ 2420346 h 2421927"/>
                  <a:gd name="connsiteX20" fmla="*/ 414105 w 2855062"/>
                  <a:gd name="connsiteY20" fmla="*/ 2419052 h 2421927"/>
                  <a:gd name="connsiteX21" fmla="*/ 296871 w 2855062"/>
                  <a:gd name="connsiteY21" fmla="*/ 2417112 h 2421927"/>
                  <a:gd name="connsiteX22" fmla="*/ 82311 w 2855062"/>
                  <a:gd name="connsiteY22" fmla="*/ 2415818 h 2421927"/>
                  <a:gd name="connsiteX23" fmla="*/ 31436 w 2855062"/>
                  <a:gd name="connsiteY23" fmla="*/ 2415171 h 2421927"/>
                  <a:gd name="connsiteX24" fmla="*/ 14877 w 2855062"/>
                  <a:gd name="connsiteY24" fmla="*/ 2406762 h 2421927"/>
                  <a:gd name="connsiteX25" fmla="*/ 14895 w 2855062"/>
                  <a:gd name="connsiteY25" fmla="*/ 2399021 h 2421927"/>
                  <a:gd name="connsiteX26" fmla="*/ 0 w 2855062"/>
                  <a:gd name="connsiteY26" fmla="*/ 2399000 h 2421927"/>
                  <a:gd name="connsiteX27" fmla="*/ 0 w 2855062"/>
                  <a:gd name="connsiteY27" fmla="*/ 847736 h 2421927"/>
                  <a:gd name="connsiteX28" fmla="*/ 3881 w 2855062"/>
                  <a:gd name="connsiteY28" fmla="*/ 10350 h 2421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855062" h="2421927">
                    <a:moveTo>
                      <a:pt x="1420550" y="0"/>
                    </a:moveTo>
                    <a:lnTo>
                      <a:pt x="2818840" y="4528"/>
                    </a:lnTo>
                    <a:lnTo>
                      <a:pt x="2818888" y="14878"/>
                    </a:lnTo>
                    <a:lnTo>
                      <a:pt x="2823367" y="14878"/>
                    </a:lnTo>
                    <a:cubicBezTo>
                      <a:pt x="2828542" y="15525"/>
                      <a:pt x="2833070" y="16172"/>
                      <a:pt x="2838244" y="17465"/>
                    </a:cubicBezTo>
                    <a:cubicBezTo>
                      <a:pt x="2838891" y="35073"/>
                      <a:pt x="2839538" y="50053"/>
                      <a:pt x="2839538" y="65033"/>
                    </a:cubicBezTo>
                    <a:cubicBezTo>
                      <a:pt x="2840832" y="115590"/>
                      <a:pt x="2841479" y="168020"/>
                      <a:pt x="2842772" y="218577"/>
                    </a:cubicBezTo>
                    <a:cubicBezTo>
                      <a:pt x="2842772" y="291605"/>
                      <a:pt x="2848594" y="1731555"/>
                      <a:pt x="2852475" y="1804582"/>
                    </a:cubicBezTo>
                    <a:cubicBezTo>
                      <a:pt x="2855709" y="1915060"/>
                      <a:pt x="2853769" y="2027409"/>
                      <a:pt x="2853769" y="2137887"/>
                    </a:cubicBezTo>
                    <a:cubicBezTo>
                      <a:pt x="2853769" y="2233384"/>
                      <a:pt x="2854415" y="2323264"/>
                      <a:pt x="2855062" y="2391238"/>
                    </a:cubicBezTo>
                    <a:lnTo>
                      <a:pt x="2855062" y="2421640"/>
                    </a:lnTo>
                    <a:cubicBezTo>
                      <a:pt x="2843419" y="2421640"/>
                      <a:pt x="2833070" y="2422287"/>
                      <a:pt x="2822720" y="2421640"/>
                    </a:cubicBezTo>
                    <a:cubicBezTo>
                      <a:pt x="2727819" y="2419052"/>
                      <a:pt x="2581829" y="2422287"/>
                      <a:pt x="2438052" y="2419699"/>
                    </a:cubicBezTo>
                    <a:cubicBezTo>
                      <a:pt x="2351785" y="2417759"/>
                      <a:pt x="2267731" y="2419052"/>
                      <a:pt x="2181464" y="2417759"/>
                    </a:cubicBezTo>
                    <a:lnTo>
                      <a:pt x="2062018" y="2415818"/>
                    </a:lnTo>
                    <a:cubicBezTo>
                      <a:pt x="2037687" y="2415818"/>
                      <a:pt x="2015567" y="2416465"/>
                      <a:pt x="1991235" y="2416465"/>
                    </a:cubicBezTo>
                    <a:cubicBezTo>
                      <a:pt x="1929300" y="2416465"/>
                      <a:pt x="1758979" y="2416465"/>
                      <a:pt x="1697044" y="2415818"/>
                    </a:cubicBezTo>
                    <a:cubicBezTo>
                      <a:pt x="1652805" y="2415171"/>
                      <a:pt x="768020" y="2419699"/>
                      <a:pt x="723780" y="2419052"/>
                    </a:cubicBezTo>
                    <a:cubicBezTo>
                      <a:pt x="712721" y="2419052"/>
                      <a:pt x="699449" y="2419699"/>
                      <a:pt x="688389" y="2419699"/>
                    </a:cubicBezTo>
                    <a:cubicBezTo>
                      <a:pt x="661846" y="2420346"/>
                      <a:pt x="637514" y="2420346"/>
                      <a:pt x="610970" y="2420346"/>
                    </a:cubicBezTo>
                    <a:cubicBezTo>
                      <a:pt x="544611" y="2419699"/>
                      <a:pt x="480465" y="2419699"/>
                      <a:pt x="414105" y="2419052"/>
                    </a:cubicBezTo>
                    <a:cubicBezTo>
                      <a:pt x="376502" y="2418406"/>
                      <a:pt x="336687" y="2417759"/>
                      <a:pt x="296871" y="2417112"/>
                    </a:cubicBezTo>
                    <a:cubicBezTo>
                      <a:pt x="223877" y="2416465"/>
                      <a:pt x="153094" y="2416465"/>
                      <a:pt x="82311" y="2415818"/>
                    </a:cubicBezTo>
                    <a:cubicBezTo>
                      <a:pt x="64615" y="2415818"/>
                      <a:pt x="49132" y="2415818"/>
                      <a:pt x="31436" y="2415171"/>
                    </a:cubicBezTo>
                    <a:cubicBezTo>
                      <a:pt x="16171" y="2414524"/>
                      <a:pt x="13583" y="2411290"/>
                      <a:pt x="14877" y="2406762"/>
                    </a:cubicBezTo>
                    <a:lnTo>
                      <a:pt x="14895" y="2399021"/>
                    </a:lnTo>
                    <a:lnTo>
                      <a:pt x="0" y="2399000"/>
                    </a:lnTo>
                    <a:lnTo>
                      <a:pt x="0" y="847736"/>
                    </a:lnTo>
                    <a:lnTo>
                      <a:pt x="3881" y="1035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5" name="TextBox 45"/>
              <p:cNvSpPr txBox="1"/>
              <p:nvPr/>
            </p:nvSpPr>
            <p:spPr>
              <a:xfrm>
                <a:off x="4111534" y="4696630"/>
                <a:ext cx="2453015" cy="56388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259080" lvl="1" indent="-129540" algn="l">
                  <a:lnSpc>
                    <a:spcPts val="1500"/>
                  </a:lnSpc>
                  <a:spcBef>
                    <a:spcPct val="0"/>
                  </a:spcBef>
                  <a:buFont typeface="Arial"/>
                  <a:buChar char="•"/>
                </a:pPr>
                <a:r>
                  <a:rPr lang="en-US" sz="1200" dirty="0">
                    <a:solidFill>
                      <a:srgbClr val="002360"/>
                    </a:solidFill>
                    <a:latin typeface="Quicksand" pitchFamily="2" charset="0"/>
                  </a:rPr>
                  <a:t>Enthusiastic: Always eager to participate in class discussions and school activities.</a:t>
                </a:r>
              </a:p>
            </p:txBody>
          </p:sp>
          <p:sp>
            <p:nvSpPr>
              <p:cNvPr id="46" name="TextBox 46"/>
              <p:cNvSpPr txBox="1"/>
              <p:nvPr/>
            </p:nvSpPr>
            <p:spPr>
              <a:xfrm>
                <a:off x="4111534" y="5374810"/>
                <a:ext cx="2399073" cy="37338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259080" lvl="1" indent="-129540" algn="l">
                  <a:lnSpc>
                    <a:spcPts val="1500"/>
                  </a:lnSpc>
                  <a:spcBef>
                    <a:spcPct val="0"/>
                  </a:spcBef>
                  <a:buFont typeface="Arial"/>
                  <a:buChar char="•"/>
                </a:pPr>
                <a:r>
                  <a:rPr lang="en-US" sz="1200" dirty="0">
                    <a:solidFill>
                      <a:srgbClr val="002360"/>
                    </a:solidFill>
                    <a:latin typeface="Quicksand" pitchFamily="2" charset="0"/>
                  </a:rPr>
                  <a:t>Creative: Enjoys writing stories and creating art.</a:t>
                </a:r>
              </a:p>
            </p:txBody>
          </p:sp>
          <p:sp>
            <p:nvSpPr>
              <p:cNvPr id="47" name="TextBox 47"/>
              <p:cNvSpPr txBox="1"/>
              <p:nvPr/>
            </p:nvSpPr>
            <p:spPr>
              <a:xfrm>
                <a:off x="4111534" y="5862490"/>
                <a:ext cx="2399073" cy="37338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259080" lvl="1" indent="-129540" algn="l">
                  <a:lnSpc>
                    <a:spcPts val="1500"/>
                  </a:lnSpc>
                  <a:spcBef>
                    <a:spcPct val="0"/>
                  </a:spcBef>
                  <a:buFont typeface="Arial"/>
                  <a:buChar char="•"/>
                </a:pPr>
                <a:r>
                  <a:rPr lang="en-US" sz="1200" dirty="0">
                    <a:solidFill>
                      <a:srgbClr val="002360"/>
                    </a:solidFill>
                    <a:latin typeface="Quicksand" pitchFamily="2" charset="0"/>
                  </a:rPr>
                  <a:t>Friendly: Easily makes friends and gets along with peers.</a:t>
                </a:r>
              </a:p>
            </p:txBody>
          </p:sp>
          <p:sp>
            <p:nvSpPr>
              <p:cNvPr id="48" name="TextBox 48"/>
              <p:cNvSpPr txBox="1"/>
              <p:nvPr/>
            </p:nvSpPr>
            <p:spPr>
              <a:xfrm>
                <a:off x="4111534" y="4274014"/>
                <a:ext cx="2399073" cy="28575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279"/>
                  </a:lnSpc>
                </a:pPr>
                <a:r>
                  <a:rPr lang="en-US" sz="1899" dirty="0">
                    <a:solidFill>
                      <a:srgbClr val="002360"/>
                    </a:solidFill>
                    <a:latin typeface="Lilita One"/>
                  </a:rPr>
                  <a:t>Personality Traits</a:t>
                </a:r>
              </a:p>
            </p:txBody>
          </p: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90D5F1FD-FC4C-FA71-FDF8-F7A4291897EC}"/>
                </a:ext>
              </a:extLst>
            </p:cNvPr>
            <p:cNvGrpSpPr/>
            <p:nvPr/>
          </p:nvGrpSpPr>
          <p:grpSpPr>
            <a:xfrm>
              <a:off x="3909505" y="2494189"/>
              <a:ext cx="2855062" cy="1388621"/>
              <a:chOff x="3909505" y="2494189"/>
              <a:chExt cx="2855062" cy="1388621"/>
            </a:xfrm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F78398E5-B669-4340-2AEC-C97F865B6425}"/>
                  </a:ext>
                </a:extLst>
              </p:cNvPr>
              <p:cNvSpPr/>
              <p:nvPr/>
            </p:nvSpPr>
            <p:spPr>
              <a:xfrm>
                <a:off x="3909505" y="2494189"/>
                <a:ext cx="2855062" cy="1388621"/>
              </a:xfrm>
              <a:custGeom>
                <a:avLst/>
                <a:gdLst>
                  <a:gd name="connsiteX0" fmla="*/ 1420550 w 2855062"/>
                  <a:gd name="connsiteY0" fmla="*/ 0 h 1388621"/>
                  <a:gd name="connsiteX1" fmla="*/ 2818840 w 2855062"/>
                  <a:gd name="connsiteY1" fmla="*/ 4528 h 1388621"/>
                  <a:gd name="connsiteX2" fmla="*/ 2818924 w 2855062"/>
                  <a:gd name="connsiteY2" fmla="*/ 14878 h 1388621"/>
                  <a:gd name="connsiteX3" fmla="*/ 2823367 w 2855062"/>
                  <a:gd name="connsiteY3" fmla="*/ 14878 h 1388621"/>
                  <a:gd name="connsiteX4" fmla="*/ 2838244 w 2855062"/>
                  <a:gd name="connsiteY4" fmla="*/ 17465 h 1388621"/>
                  <a:gd name="connsiteX5" fmla="*/ 2839538 w 2855062"/>
                  <a:gd name="connsiteY5" fmla="*/ 44453 h 1388621"/>
                  <a:gd name="connsiteX6" fmla="*/ 2842772 w 2855062"/>
                  <a:gd name="connsiteY6" fmla="*/ 130731 h 1388621"/>
                  <a:gd name="connsiteX7" fmla="*/ 2852475 w 2855062"/>
                  <a:gd name="connsiteY7" fmla="*/ 1021922 h 1388621"/>
                  <a:gd name="connsiteX8" fmla="*/ 2853769 w 2855062"/>
                  <a:gd name="connsiteY8" fmla="*/ 1209209 h 1388621"/>
                  <a:gd name="connsiteX9" fmla="*/ 2855062 w 2855062"/>
                  <a:gd name="connsiteY9" fmla="*/ 1357933 h 1388621"/>
                  <a:gd name="connsiteX10" fmla="*/ 2855062 w 2855062"/>
                  <a:gd name="connsiteY10" fmla="*/ 1388334 h 1388621"/>
                  <a:gd name="connsiteX11" fmla="*/ 2822720 w 2855062"/>
                  <a:gd name="connsiteY11" fmla="*/ 1388334 h 1388621"/>
                  <a:gd name="connsiteX12" fmla="*/ 2438052 w 2855062"/>
                  <a:gd name="connsiteY12" fmla="*/ 1386394 h 1388621"/>
                  <a:gd name="connsiteX13" fmla="*/ 2181464 w 2855062"/>
                  <a:gd name="connsiteY13" fmla="*/ 1384453 h 1388621"/>
                  <a:gd name="connsiteX14" fmla="*/ 2062018 w 2855062"/>
                  <a:gd name="connsiteY14" fmla="*/ 1382513 h 1388621"/>
                  <a:gd name="connsiteX15" fmla="*/ 1991235 w 2855062"/>
                  <a:gd name="connsiteY15" fmla="*/ 1383160 h 1388621"/>
                  <a:gd name="connsiteX16" fmla="*/ 1697044 w 2855062"/>
                  <a:gd name="connsiteY16" fmla="*/ 1382513 h 1388621"/>
                  <a:gd name="connsiteX17" fmla="*/ 723780 w 2855062"/>
                  <a:gd name="connsiteY17" fmla="*/ 1385747 h 1388621"/>
                  <a:gd name="connsiteX18" fmla="*/ 688389 w 2855062"/>
                  <a:gd name="connsiteY18" fmla="*/ 1386394 h 1388621"/>
                  <a:gd name="connsiteX19" fmla="*/ 610970 w 2855062"/>
                  <a:gd name="connsiteY19" fmla="*/ 1387041 h 1388621"/>
                  <a:gd name="connsiteX20" fmla="*/ 414105 w 2855062"/>
                  <a:gd name="connsiteY20" fmla="*/ 1385747 h 1388621"/>
                  <a:gd name="connsiteX21" fmla="*/ 296871 w 2855062"/>
                  <a:gd name="connsiteY21" fmla="*/ 1383806 h 1388621"/>
                  <a:gd name="connsiteX22" fmla="*/ 82311 w 2855062"/>
                  <a:gd name="connsiteY22" fmla="*/ 1382513 h 1388621"/>
                  <a:gd name="connsiteX23" fmla="*/ 31436 w 2855062"/>
                  <a:gd name="connsiteY23" fmla="*/ 1381866 h 1388621"/>
                  <a:gd name="connsiteX24" fmla="*/ 14877 w 2855062"/>
                  <a:gd name="connsiteY24" fmla="*/ 1373457 h 1388621"/>
                  <a:gd name="connsiteX25" fmla="*/ 14908 w 2855062"/>
                  <a:gd name="connsiteY25" fmla="*/ 1365716 h 1388621"/>
                  <a:gd name="connsiteX26" fmla="*/ 0 w 2855062"/>
                  <a:gd name="connsiteY26" fmla="*/ 1365695 h 1388621"/>
                  <a:gd name="connsiteX27" fmla="*/ 0 w 2855062"/>
                  <a:gd name="connsiteY27" fmla="*/ 484261 h 1388621"/>
                  <a:gd name="connsiteX28" fmla="*/ 3881 w 2855062"/>
                  <a:gd name="connsiteY28" fmla="*/ 10350 h 1388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855062" h="1388621">
                    <a:moveTo>
                      <a:pt x="1420550" y="0"/>
                    </a:moveTo>
                    <a:lnTo>
                      <a:pt x="2818840" y="4528"/>
                    </a:lnTo>
                    <a:lnTo>
                      <a:pt x="2818924" y="14878"/>
                    </a:lnTo>
                    <a:lnTo>
                      <a:pt x="2823367" y="14878"/>
                    </a:lnTo>
                    <a:cubicBezTo>
                      <a:pt x="2828542" y="15525"/>
                      <a:pt x="2833070" y="16172"/>
                      <a:pt x="2838244" y="17465"/>
                    </a:cubicBezTo>
                    <a:cubicBezTo>
                      <a:pt x="2838891" y="27618"/>
                      <a:pt x="2839538" y="36035"/>
                      <a:pt x="2839538" y="44453"/>
                    </a:cubicBezTo>
                    <a:cubicBezTo>
                      <a:pt x="2840832" y="72861"/>
                      <a:pt x="2841479" y="102322"/>
                      <a:pt x="2842772" y="130731"/>
                    </a:cubicBezTo>
                    <a:cubicBezTo>
                      <a:pt x="2842772" y="171765"/>
                      <a:pt x="2848594" y="980887"/>
                      <a:pt x="2852475" y="1021922"/>
                    </a:cubicBezTo>
                    <a:cubicBezTo>
                      <a:pt x="2855709" y="1084000"/>
                      <a:pt x="2853769" y="1147130"/>
                      <a:pt x="2853769" y="1209209"/>
                    </a:cubicBezTo>
                    <a:cubicBezTo>
                      <a:pt x="2853769" y="1262870"/>
                      <a:pt x="2854415" y="1313374"/>
                      <a:pt x="2855062" y="1357933"/>
                    </a:cubicBezTo>
                    <a:lnTo>
                      <a:pt x="2855062" y="1388334"/>
                    </a:lnTo>
                    <a:cubicBezTo>
                      <a:pt x="2843419" y="1388334"/>
                      <a:pt x="2833070" y="1388981"/>
                      <a:pt x="2822720" y="1388334"/>
                    </a:cubicBezTo>
                    <a:cubicBezTo>
                      <a:pt x="2727819" y="1385747"/>
                      <a:pt x="2581829" y="1388981"/>
                      <a:pt x="2438052" y="1386394"/>
                    </a:cubicBezTo>
                    <a:cubicBezTo>
                      <a:pt x="2351785" y="1384453"/>
                      <a:pt x="2267731" y="1385747"/>
                      <a:pt x="2181464" y="1384453"/>
                    </a:cubicBezTo>
                    <a:lnTo>
                      <a:pt x="2062018" y="1382513"/>
                    </a:lnTo>
                    <a:cubicBezTo>
                      <a:pt x="2037687" y="1382513"/>
                      <a:pt x="2015567" y="1383160"/>
                      <a:pt x="1991235" y="1383160"/>
                    </a:cubicBezTo>
                    <a:cubicBezTo>
                      <a:pt x="1929300" y="1383160"/>
                      <a:pt x="1758979" y="1383160"/>
                      <a:pt x="1697044" y="1382513"/>
                    </a:cubicBezTo>
                    <a:cubicBezTo>
                      <a:pt x="1652805" y="1381866"/>
                      <a:pt x="768020" y="1386394"/>
                      <a:pt x="723780" y="1385747"/>
                    </a:cubicBezTo>
                    <a:cubicBezTo>
                      <a:pt x="712721" y="1385747"/>
                      <a:pt x="699449" y="1386394"/>
                      <a:pt x="688389" y="1386394"/>
                    </a:cubicBezTo>
                    <a:cubicBezTo>
                      <a:pt x="661846" y="1387041"/>
                      <a:pt x="637514" y="1387041"/>
                      <a:pt x="610970" y="1387041"/>
                    </a:cubicBezTo>
                    <a:cubicBezTo>
                      <a:pt x="544611" y="1386394"/>
                      <a:pt x="480465" y="1386394"/>
                      <a:pt x="414105" y="1385747"/>
                    </a:cubicBezTo>
                    <a:cubicBezTo>
                      <a:pt x="376502" y="1385100"/>
                      <a:pt x="336687" y="1384453"/>
                      <a:pt x="296871" y="1383806"/>
                    </a:cubicBezTo>
                    <a:cubicBezTo>
                      <a:pt x="223877" y="1383160"/>
                      <a:pt x="153094" y="1383160"/>
                      <a:pt x="82311" y="1382513"/>
                    </a:cubicBezTo>
                    <a:cubicBezTo>
                      <a:pt x="64615" y="1382513"/>
                      <a:pt x="49132" y="1382513"/>
                      <a:pt x="31436" y="1381866"/>
                    </a:cubicBezTo>
                    <a:cubicBezTo>
                      <a:pt x="16171" y="1381219"/>
                      <a:pt x="13583" y="1377985"/>
                      <a:pt x="14877" y="1373457"/>
                    </a:cubicBezTo>
                    <a:lnTo>
                      <a:pt x="14908" y="1365716"/>
                    </a:lnTo>
                    <a:lnTo>
                      <a:pt x="0" y="1365695"/>
                    </a:lnTo>
                    <a:lnTo>
                      <a:pt x="0" y="484261"/>
                    </a:lnTo>
                    <a:lnTo>
                      <a:pt x="3881" y="1035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2" name="TextBox 42"/>
              <p:cNvSpPr txBox="1"/>
              <p:nvPr/>
            </p:nvSpPr>
            <p:spPr>
              <a:xfrm>
                <a:off x="4111534" y="3158035"/>
                <a:ext cx="2399073" cy="18288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259080" lvl="1" indent="-129540" algn="l">
                  <a:lnSpc>
                    <a:spcPts val="1500"/>
                  </a:lnSpc>
                  <a:spcBef>
                    <a:spcPct val="0"/>
                  </a:spcBef>
                  <a:buFont typeface="Arial"/>
                  <a:buChar char="•"/>
                </a:pPr>
                <a:r>
                  <a:rPr lang="en-US" sz="1200" dirty="0">
                    <a:solidFill>
                      <a:srgbClr val="002360"/>
                    </a:solidFill>
                    <a:latin typeface="Quicksand" pitchFamily="2" charset="0"/>
                  </a:rPr>
                  <a:t>Light Brown Hair, Gray Eyes</a:t>
                </a:r>
              </a:p>
            </p:txBody>
          </p:sp>
          <p:sp>
            <p:nvSpPr>
              <p:cNvPr id="43" name="TextBox 43"/>
              <p:cNvSpPr txBox="1"/>
              <p:nvPr/>
            </p:nvSpPr>
            <p:spPr>
              <a:xfrm>
                <a:off x="4111534" y="3458699"/>
                <a:ext cx="2399073" cy="18288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259080" lvl="1" indent="-129540" algn="l">
                  <a:lnSpc>
                    <a:spcPts val="1500"/>
                  </a:lnSpc>
                  <a:spcBef>
                    <a:spcPct val="0"/>
                  </a:spcBef>
                  <a:buFont typeface="Arial"/>
                  <a:buChar char="•"/>
                </a:pPr>
                <a:r>
                  <a:rPr lang="en-US" sz="1200" u="none" strike="noStrike" dirty="0">
                    <a:solidFill>
                      <a:srgbClr val="002360"/>
                    </a:solidFill>
                    <a:latin typeface="Quicksand" pitchFamily="2" charset="0"/>
                  </a:rPr>
                  <a:t>Height: 5 feet 2 inches</a:t>
                </a:r>
              </a:p>
            </p:txBody>
          </p:sp>
          <p:sp>
            <p:nvSpPr>
              <p:cNvPr id="44" name="TextBox 44"/>
              <p:cNvSpPr txBox="1"/>
              <p:nvPr/>
            </p:nvSpPr>
            <p:spPr>
              <a:xfrm>
                <a:off x="4137500" y="2735419"/>
                <a:ext cx="2399073" cy="28575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279"/>
                  </a:lnSpc>
                </a:pPr>
                <a:r>
                  <a:rPr lang="en-US" sz="1899" dirty="0">
                    <a:solidFill>
                      <a:srgbClr val="002360"/>
                    </a:solidFill>
                    <a:latin typeface="Lilita One"/>
                  </a:rPr>
                  <a:t>Physical Description</a:t>
                </a:r>
              </a:p>
            </p:txBody>
          </p:sp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412035FF-49AB-E0B5-5720-C579D0FB794C}"/>
                </a:ext>
              </a:extLst>
            </p:cNvPr>
            <p:cNvGrpSpPr/>
            <p:nvPr/>
          </p:nvGrpSpPr>
          <p:grpSpPr>
            <a:xfrm>
              <a:off x="794765" y="2175849"/>
              <a:ext cx="2864297" cy="3343129"/>
              <a:chOff x="794765" y="2175849"/>
              <a:chExt cx="2864297" cy="3343129"/>
            </a:xfrm>
          </p:grpSpPr>
          <p:sp>
            <p:nvSpPr>
              <p:cNvPr id="13" name="Freeform 13"/>
              <p:cNvSpPr/>
              <p:nvPr/>
            </p:nvSpPr>
            <p:spPr>
              <a:xfrm rot="21599306">
                <a:off x="794765" y="2175849"/>
                <a:ext cx="2864297" cy="3343129"/>
              </a:xfrm>
              <a:custGeom>
                <a:avLst/>
                <a:gdLst/>
                <a:ahLst/>
                <a:cxnLst/>
                <a:rect l="l" t="t" r="r" b="b"/>
                <a:pathLst>
                  <a:path w="5439410" h="6348730">
                    <a:moveTo>
                      <a:pt x="5419090" y="0"/>
                    </a:moveTo>
                    <a:lnTo>
                      <a:pt x="19050" y="0"/>
                    </a:lnTo>
                    <a:cubicBezTo>
                      <a:pt x="8890" y="0"/>
                      <a:pt x="0" y="8890"/>
                      <a:pt x="0" y="20320"/>
                    </a:cubicBezTo>
                    <a:lnTo>
                      <a:pt x="0" y="6329680"/>
                    </a:lnTo>
                    <a:cubicBezTo>
                      <a:pt x="0" y="6339840"/>
                      <a:pt x="8890" y="6348730"/>
                      <a:pt x="19050" y="6348730"/>
                    </a:cubicBezTo>
                    <a:lnTo>
                      <a:pt x="5419090" y="6348730"/>
                    </a:lnTo>
                    <a:cubicBezTo>
                      <a:pt x="5429250" y="6348730"/>
                      <a:pt x="5438140" y="6339840"/>
                      <a:pt x="5438140" y="6329680"/>
                    </a:cubicBezTo>
                    <a:lnTo>
                      <a:pt x="5438140" y="20320"/>
                    </a:lnTo>
                    <a:cubicBezTo>
                      <a:pt x="5439410" y="8890"/>
                      <a:pt x="5430520" y="0"/>
                      <a:pt x="5419090" y="0"/>
                    </a:cubicBezTo>
                    <a:close/>
                    <a:moveTo>
                      <a:pt x="5137150" y="314960"/>
                    </a:moveTo>
                    <a:lnTo>
                      <a:pt x="5137150" y="4970780"/>
                    </a:lnTo>
                    <a:cubicBezTo>
                      <a:pt x="5137150" y="4980940"/>
                      <a:pt x="5128260" y="4989830"/>
                      <a:pt x="5118100" y="4989830"/>
                    </a:cubicBezTo>
                    <a:lnTo>
                      <a:pt x="266700" y="4989830"/>
                    </a:lnTo>
                    <a:cubicBezTo>
                      <a:pt x="256540" y="4989830"/>
                      <a:pt x="247650" y="4980940"/>
                      <a:pt x="247650" y="4970780"/>
                    </a:cubicBezTo>
                    <a:lnTo>
                      <a:pt x="247650" y="314960"/>
                    </a:lnTo>
                    <a:cubicBezTo>
                      <a:pt x="247650" y="304800"/>
                      <a:pt x="256540" y="295910"/>
                      <a:pt x="266700" y="295910"/>
                    </a:cubicBezTo>
                    <a:lnTo>
                      <a:pt x="5118100" y="295910"/>
                    </a:lnTo>
                    <a:cubicBezTo>
                      <a:pt x="5129530" y="294640"/>
                      <a:pt x="5137150" y="303530"/>
                      <a:pt x="5137150" y="314960"/>
                    </a:cubicBez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" name="Freeform 14"/>
              <p:cNvSpPr/>
              <p:nvPr/>
            </p:nvSpPr>
            <p:spPr>
              <a:xfrm rot="21599306">
                <a:off x="939551" y="2331005"/>
                <a:ext cx="2574724" cy="2471735"/>
              </a:xfrm>
              <a:custGeom>
                <a:avLst/>
                <a:gdLst/>
                <a:ahLst/>
                <a:cxnLst/>
                <a:rect l="l" t="t" r="r" b="b"/>
                <a:pathLst>
                  <a:path w="4889500" h="4693920">
                    <a:moveTo>
                      <a:pt x="4870450" y="0"/>
                    </a:moveTo>
                    <a:lnTo>
                      <a:pt x="19050" y="0"/>
                    </a:lnTo>
                    <a:cubicBezTo>
                      <a:pt x="8890" y="0"/>
                      <a:pt x="0" y="8890"/>
                      <a:pt x="0" y="19050"/>
                    </a:cubicBezTo>
                    <a:lnTo>
                      <a:pt x="0" y="4674870"/>
                    </a:lnTo>
                    <a:cubicBezTo>
                      <a:pt x="0" y="4686300"/>
                      <a:pt x="8890" y="4693920"/>
                      <a:pt x="19050" y="4693920"/>
                    </a:cubicBezTo>
                    <a:lnTo>
                      <a:pt x="4870450" y="4693920"/>
                    </a:lnTo>
                    <a:cubicBezTo>
                      <a:pt x="4880610" y="4693920"/>
                      <a:pt x="4889500" y="4685030"/>
                      <a:pt x="4889500" y="4674870"/>
                    </a:cubicBezTo>
                    <a:lnTo>
                      <a:pt x="4889500" y="20320"/>
                    </a:lnTo>
                    <a:cubicBezTo>
                      <a:pt x="4889500" y="8890"/>
                      <a:pt x="4881880" y="0"/>
                      <a:pt x="4870450" y="0"/>
                    </a:cubicBezTo>
                    <a:close/>
                  </a:path>
                </a:pathLst>
              </a:custGeom>
              <a:blipFill>
                <a:blip r:embed="rId19"/>
                <a:stretch>
                  <a:fillRect l="-65663" r="-121977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" name="TextBox 49"/>
              <p:cNvSpPr txBox="1"/>
              <p:nvPr/>
            </p:nvSpPr>
            <p:spPr>
              <a:xfrm>
                <a:off x="1082111" y="4936214"/>
                <a:ext cx="2289605" cy="4095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3120"/>
                  </a:lnSpc>
                  <a:spcBef>
                    <a:spcPct val="0"/>
                  </a:spcBef>
                </a:pPr>
                <a:r>
                  <a:rPr lang="en-US" sz="2600" dirty="0">
                    <a:solidFill>
                      <a:srgbClr val="002360"/>
                    </a:solidFill>
                    <a:latin typeface="Lilita One"/>
                  </a:rPr>
                  <a:t>05/05/2010</a:t>
                </a:r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2999D055-FA1D-D72C-7FA9-7DEF2ECA9DA2}"/>
                </a:ext>
              </a:extLst>
            </p:cNvPr>
            <p:cNvGrpSpPr/>
            <p:nvPr/>
          </p:nvGrpSpPr>
          <p:grpSpPr>
            <a:xfrm>
              <a:off x="771160" y="804629"/>
              <a:ext cx="6014179" cy="970915"/>
              <a:chOff x="772911" y="804629"/>
              <a:chExt cx="6014179" cy="970915"/>
            </a:xfrm>
          </p:grpSpPr>
          <p:sp>
            <p:nvSpPr>
              <p:cNvPr id="40" name="TextBox 40"/>
              <p:cNvSpPr txBox="1"/>
              <p:nvPr/>
            </p:nvSpPr>
            <p:spPr>
              <a:xfrm>
                <a:off x="1926669" y="804629"/>
                <a:ext cx="3706663" cy="28116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352"/>
                  </a:lnSpc>
                </a:pPr>
                <a:r>
                  <a:rPr lang="en-US" sz="1700" dirty="0">
                    <a:solidFill>
                      <a:srgbClr val="002360"/>
                    </a:solidFill>
                    <a:latin typeface="Quicksand" pitchFamily="2" charset="0"/>
                  </a:rPr>
                  <a:t>ALL ABOUT ME MIDDLE SCHOOL</a:t>
                </a:r>
              </a:p>
            </p:txBody>
          </p:sp>
          <p:sp>
            <p:nvSpPr>
              <p:cNvPr id="41" name="TextBox 41"/>
              <p:cNvSpPr txBox="1"/>
              <p:nvPr/>
            </p:nvSpPr>
            <p:spPr>
              <a:xfrm>
                <a:off x="772911" y="1213569"/>
                <a:ext cx="6014179" cy="5619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4440"/>
                  </a:lnSpc>
                  <a:spcBef>
                    <a:spcPct val="0"/>
                  </a:spcBef>
                </a:pPr>
                <a:r>
                  <a:rPr lang="en-US" sz="3700" dirty="0">
                    <a:solidFill>
                      <a:srgbClr val="002360"/>
                    </a:solidFill>
                    <a:latin typeface="Lilita One"/>
                  </a:rPr>
                  <a:t>CHARLOTTE ANDERSON</a:t>
                </a:r>
              </a:p>
            </p:txBody>
          </p:sp>
        </p:grpSp>
        <p:sp>
          <p:nvSpPr>
            <p:cNvPr id="64" name="TemplateLAB"/>
            <p:cNvSpPr/>
            <p:nvPr/>
          </p:nvSpPr>
          <p:spPr>
            <a:xfrm>
              <a:off x="3282694" y="10295200"/>
              <a:ext cx="994612" cy="164111"/>
            </a:xfrm>
            <a:custGeom>
              <a:avLst/>
              <a:gdLst/>
              <a:ahLst/>
              <a:cxnLst/>
              <a:rect l="l" t="t" r="r" b="b"/>
              <a:pathLst>
                <a:path w="994612" h="164111">
                  <a:moveTo>
                    <a:pt x="0" y="0"/>
                  </a:moveTo>
                  <a:lnTo>
                    <a:pt x="994612" y="0"/>
                  </a:lnTo>
                  <a:lnTo>
                    <a:pt x="994612" y="164111"/>
                  </a:lnTo>
                  <a:lnTo>
                    <a:pt x="0" y="164111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0">
                <a:extLs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0274239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5</TotalTime>
  <Words>118</Words>
  <Application>Microsoft Office PowerPoint</Application>
  <PresentationFormat>Custom</PresentationFormat>
  <Paragraphs>22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Quicksand</vt:lpstr>
      <vt:lpstr>Lilita One</vt:lpstr>
      <vt:lpstr>Arial</vt:lpstr>
      <vt:lpstr>Calibri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l about me  - 1,2,3,4,6,7,8,9</dc:title>
  <dc:creator>Hoang Anh</dc:creator>
  <cp:lastModifiedBy>Hoang Anh</cp:lastModifiedBy>
  <cp:revision>10</cp:revision>
  <dcterms:created xsi:type="dcterms:W3CDTF">2006-08-16T00:00:00Z</dcterms:created>
  <dcterms:modified xsi:type="dcterms:W3CDTF">2023-09-14T09:27:45Z</dcterms:modified>
  <dc:identifier>DAFuDzpaPhY</dc:identifier>
</cp:coreProperties>
</file>